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theme/theme16.xml" ContentType="application/vnd.openxmlformats-officedocument.theme+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theme/theme17.xml" ContentType="application/vnd.openxmlformats-officedocument.theme+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theme/theme18.xml" ContentType="application/vnd.openxmlformats-officedocument.theme+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8.xml" ContentType="application/vnd.openxmlformats-officedocument.presentationml.tags+xml"/>
  <Override PartName="/ppt/notesSlides/notesSlide29.xml" ContentType="application/vnd.openxmlformats-officedocument.presentationml.notesSlide+xml"/>
  <Override PartName="/ppt/tags/tag1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 id="2147484333" r:id="rId19"/>
    <p:sldMasterId id="2147484376" r:id="rId20"/>
    <p:sldMasterId id="2147484408" r:id="rId21"/>
    <p:sldMasterId id="2147484427" r:id="rId22"/>
  </p:sldMasterIdLst>
  <p:notesMasterIdLst>
    <p:notesMasterId r:id="rId58"/>
  </p:notesMasterIdLst>
  <p:sldIdLst>
    <p:sldId id="2076137812" r:id="rId23"/>
    <p:sldId id="2076138062" r:id="rId24"/>
    <p:sldId id="2134805668" r:id="rId25"/>
    <p:sldId id="2134805680" r:id="rId26"/>
    <p:sldId id="2120" r:id="rId27"/>
    <p:sldId id="2145705987" r:id="rId28"/>
    <p:sldId id="2145705988" r:id="rId29"/>
    <p:sldId id="2134805707" r:id="rId30"/>
    <p:sldId id="2134805684" r:id="rId31"/>
    <p:sldId id="2147478642" r:id="rId32"/>
    <p:sldId id="2147478639" r:id="rId33"/>
    <p:sldId id="2147478636" r:id="rId34"/>
    <p:sldId id="2134805695" r:id="rId35"/>
    <p:sldId id="2147469866" r:id="rId36"/>
    <p:sldId id="2147478643" r:id="rId37"/>
    <p:sldId id="2076137823" r:id="rId38"/>
    <p:sldId id="2134805708" r:id="rId39"/>
    <p:sldId id="2076137847" r:id="rId40"/>
    <p:sldId id="2076137848" r:id="rId41"/>
    <p:sldId id="2076137850" r:id="rId42"/>
    <p:sldId id="2076137849" r:id="rId43"/>
    <p:sldId id="2076137853" r:id="rId44"/>
    <p:sldId id="2076137851" r:id="rId45"/>
    <p:sldId id="2145705981" r:id="rId46"/>
    <p:sldId id="2076137854" r:id="rId47"/>
    <p:sldId id="2147478644" r:id="rId48"/>
    <p:sldId id="2147478645" r:id="rId49"/>
    <p:sldId id="2142532367" r:id="rId50"/>
    <p:sldId id="2071" r:id="rId51"/>
    <p:sldId id="2076138069" r:id="rId52"/>
    <p:sldId id="2123258757" r:id="rId53"/>
    <p:sldId id="2076137588" r:id="rId54"/>
    <p:sldId id="2076137830" r:id="rId55"/>
    <p:sldId id="2147478641" r:id="rId56"/>
    <p:sldId id="2076137838"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34805668"/>
            <p14:sldId id="2134805680"/>
            <p14:sldId id="2120"/>
            <p14:sldId id="2145705987"/>
            <p14:sldId id="2145705988"/>
            <p14:sldId id="2134805707"/>
            <p14:sldId id="2134805684"/>
            <p14:sldId id="2147478642"/>
            <p14:sldId id="2147478639"/>
            <p14:sldId id="2147478636"/>
            <p14:sldId id="2134805695"/>
            <p14:sldId id="2147469866"/>
            <p14:sldId id="2147478643"/>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Lst>
        </p14:section>
        <p14:section name="Identity &amp; Access Mgmt" id="{188A6EBD-CFD3-4C32-9613-A7564210A25B}">
          <p14:sldIdLst>
            <p14:sldId id="2076137848"/>
          </p14:sldIdLst>
        </p14:section>
        <p14:section name="Network Topology &amp; Connectivity" id="{25FF092F-F0BB-4D40-869D-C3ECBE97A5B9}">
          <p14:sldIdLst>
            <p14:sldId id="2076137850"/>
          </p14:sldIdLst>
        </p14:section>
        <p14:section name="Resource Organization" id="{DBBAC8B6-1395-49A4-B21B-43EC66992E7C}">
          <p14:sldIdLst>
            <p14:sldId id="2076137849"/>
          </p14:sldIdLst>
        </p14:section>
        <p14:section name="Security" id="{B6616848-B046-492A-87BA-DA2EBDF81461}">
          <p14:sldIdLst>
            <p14:sldId id="2076137853"/>
          </p14:sldIdLst>
        </p14:section>
        <p14:section name="Management, Monitoring, BCDR" id="{BCF7F8F9-C8B2-4666-AE09-3C86055DB40B}">
          <p14:sldIdLst>
            <p14:sldId id="2076137851"/>
          </p14:sldIdLst>
        </p14:section>
        <p14:section name="Governance" id="{2082CE0E-CFFA-4A69-B75A-D4B8C114B5AB}">
          <p14:sldIdLst>
            <p14:sldId id="2145705981"/>
          </p14:sldIdLst>
        </p14:section>
        <p14:section name="Platform Automation" id="{8A3CD5D5-E231-4EC9-99A0-A31F358CB193}">
          <p14:sldIdLst>
            <p14:sldId id="2076137854"/>
            <p14:sldId id="2147478644"/>
          </p14:sldIdLst>
        </p14:section>
        <p14:section name="Well Architected" id="{8DEF1715-E754-48A6-B431-DF30F11CC3DE}">
          <p14:sldIdLst>
            <p14:sldId id="2147478645"/>
            <p14:sldId id="2142532367"/>
            <p14:sldId id="2071"/>
            <p14:sldId id="2076138069"/>
            <p14:sldId id="2123258757"/>
            <p14:sldId id="2076137588"/>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FC60B1-A14A-46D1-AA0A-F412F7A955F4}" v="129" dt="2022-11-01T14:21:15.3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485" autoAdjust="0"/>
    <p:restoredTop sz="90895" autoAdjust="0"/>
  </p:normalViewPr>
  <p:slideViewPr>
    <p:cSldViewPr snapToGrid="0">
      <p:cViewPr varScale="1">
        <p:scale>
          <a:sx n="172" d="100"/>
          <a:sy n="172" d="100"/>
        </p:scale>
        <p:origin x="126"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slide" Target="slides/slide33.xml"/><Relationship Id="rId63"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7.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2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viewProps" Target="view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7DFC60B1-A14A-46D1-AA0A-F412F7A955F4}"/>
    <pc:docChg chg="undo redo custSel addSld delSld modSld sldOrd delMainMaster addSection modSection">
      <pc:chgData name="Jonathan Vella" userId="ff59d9e4-9df8-4ae6-90e3-b837e2f6651b" providerId="ADAL" clId="{7DFC60B1-A14A-46D1-AA0A-F412F7A955F4}" dt="2022-11-03T12:28:29.468" v="339" actId="1036"/>
      <pc:docMkLst>
        <pc:docMk/>
      </pc:docMkLst>
      <pc:sldChg chg="del">
        <pc:chgData name="Jonathan Vella" userId="ff59d9e4-9df8-4ae6-90e3-b837e2f6651b" providerId="ADAL" clId="{7DFC60B1-A14A-46D1-AA0A-F412F7A955F4}" dt="2022-11-01T14:21:11.516" v="303" actId="2696"/>
        <pc:sldMkLst>
          <pc:docMk/>
          <pc:sldMk cId="386969994" sldId="2071"/>
        </pc:sldMkLst>
      </pc:sldChg>
      <pc:sldChg chg="del ord">
        <pc:chgData name="Jonathan Vella" userId="ff59d9e4-9df8-4ae6-90e3-b837e2f6651b" providerId="ADAL" clId="{7DFC60B1-A14A-46D1-AA0A-F412F7A955F4}" dt="2022-11-01T14:22:37.101" v="312" actId="47"/>
        <pc:sldMkLst>
          <pc:docMk/>
          <pc:sldMk cId="725479285" sldId="2083"/>
        </pc:sldMkLst>
      </pc:sldChg>
      <pc:sldChg chg="del">
        <pc:chgData name="Jonathan Vella" userId="ff59d9e4-9df8-4ae6-90e3-b837e2f6651b" providerId="ADAL" clId="{7DFC60B1-A14A-46D1-AA0A-F412F7A955F4}" dt="2022-11-01T14:21:11.516" v="303" actId="2696"/>
        <pc:sldMkLst>
          <pc:docMk/>
          <pc:sldMk cId="2713965803" sldId="2083"/>
        </pc:sldMkLst>
      </pc:sldChg>
      <pc:sldChg chg="addSp delSp modSp mod delAnim modAnim">
        <pc:chgData name="Jonathan Vella" userId="ff59d9e4-9df8-4ae6-90e3-b837e2f6651b" providerId="ADAL" clId="{7DFC60B1-A14A-46D1-AA0A-F412F7A955F4}" dt="2022-11-01T13:59:56.715" v="224" actId="1076"/>
        <pc:sldMkLst>
          <pc:docMk/>
          <pc:sldMk cId="726869788" sldId="2120"/>
        </pc:sldMkLst>
        <pc:spChg chg="mod">
          <ac:chgData name="Jonathan Vella" userId="ff59d9e4-9df8-4ae6-90e3-b837e2f6651b" providerId="ADAL" clId="{7DFC60B1-A14A-46D1-AA0A-F412F7A955F4}" dt="2022-11-01T13:20:00.966" v="161" actId="14100"/>
          <ac:spMkLst>
            <pc:docMk/>
            <pc:sldMk cId="726869788" sldId="2120"/>
            <ac:spMk id="4" creationId="{73C11B36-D377-4BE8-AADB-2B276ABA8FA2}"/>
          </ac:spMkLst>
        </pc:spChg>
        <pc:spChg chg="add del">
          <ac:chgData name="Jonathan Vella" userId="ff59d9e4-9df8-4ae6-90e3-b837e2f6651b" providerId="ADAL" clId="{7DFC60B1-A14A-46D1-AA0A-F412F7A955F4}" dt="2022-11-01T13:22:07.010" v="180"/>
          <ac:spMkLst>
            <pc:docMk/>
            <pc:sldMk cId="726869788" sldId="2120"/>
            <ac:spMk id="6" creationId="{772A9614-1334-C2E6-9E0B-304A72CACD43}"/>
          </ac:spMkLst>
        </pc:spChg>
        <pc:spChg chg="add del mod">
          <ac:chgData name="Jonathan Vella" userId="ff59d9e4-9df8-4ae6-90e3-b837e2f6651b" providerId="ADAL" clId="{7DFC60B1-A14A-46D1-AA0A-F412F7A955F4}" dt="2022-11-01T13:23:18.399" v="188" actId="478"/>
          <ac:spMkLst>
            <pc:docMk/>
            <pc:sldMk cId="726869788" sldId="2120"/>
            <ac:spMk id="11" creationId="{2F9FD11A-804D-48BF-AADD-3E72CB325E4F}"/>
          </ac:spMkLst>
        </pc:spChg>
        <pc:spChg chg="del">
          <ac:chgData name="Jonathan Vella" userId="ff59d9e4-9df8-4ae6-90e3-b837e2f6651b" providerId="ADAL" clId="{7DFC60B1-A14A-46D1-AA0A-F412F7A955F4}" dt="2022-11-01T13:23:24.107" v="190" actId="478"/>
          <ac:spMkLst>
            <pc:docMk/>
            <pc:sldMk cId="726869788" sldId="2120"/>
            <ac:spMk id="12" creationId="{35BCAFAC-4BE4-40E8-B0F9-BCD654A481C2}"/>
          </ac:spMkLst>
        </pc:spChg>
        <pc:spChg chg="del">
          <ac:chgData name="Jonathan Vella" userId="ff59d9e4-9df8-4ae6-90e3-b837e2f6651b" providerId="ADAL" clId="{7DFC60B1-A14A-46D1-AA0A-F412F7A955F4}" dt="2022-11-01T13:23:21.761" v="189" actId="478"/>
          <ac:spMkLst>
            <pc:docMk/>
            <pc:sldMk cId="726869788" sldId="2120"/>
            <ac:spMk id="13" creationId="{D2A6A2A2-BB0A-45A4-A4B8-0A6CD94314EC}"/>
          </ac:spMkLst>
        </pc:spChg>
        <pc:picChg chg="del">
          <ac:chgData name="Jonathan Vella" userId="ff59d9e4-9df8-4ae6-90e3-b837e2f6651b" providerId="ADAL" clId="{7DFC60B1-A14A-46D1-AA0A-F412F7A955F4}" dt="2022-11-01T13:18:23.136" v="158" actId="478"/>
          <ac:picMkLst>
            <pc:docMk/>
            <pc:sldMk cId="726869788" sldId="2120"/>
            <ac:picMk id="2" creationId="{942A5241-8388-41FA-B08C-DA59DB6724E5}"/>
          </ac:picMkLst>
        </pc:picChg>
        <pc:picChg chg="del">
          <ac:chgData name="Jonathan Vella" userId="ff59d9e4-9df8-4ae6-90e3-b837e2f6651b" providerId="ADAL" clId="{7DFC60B1-A14A-46D1-AA0A-F412F7A955F4}" dt="2022-11-01T13:18:21.763" v="156" actId="478"/>
          <ac:picMkLst>
            <pc:docMk/>
            <pc:sldMk cId="726869788" sldId="2120"/>
            <ac:picMk id="3" creationId="{CFD7ECAC-03C1-4BD2-B1C7-A063FE494132}"/>
          </ac:picMkLst>
        </pc:picChg>
        <pc:picChg chg="del">
          <ac:chgData name="Jonathan Vella" userId="ff59d9e4-9df8-4ae6-90e3-b837e2f6651b" providerId="ADAL" clId="{7DFC60B1-A14A-46D1-AA0A-F412F7A955F4}" dt="2022-11-01T13:18:22.521" v="157" actId="478"/>
          <ac:picMkLst>
            <pc:docMk/>
            <pc:sldMk cId="726869788" sldId="2120"/>
            <ac:picMk id="5" creationId="{D2DD0CDA-3FC8-446F-9C97-C1104BC83D28}"/>
          </ac:picMkLst>
        </pc:picChg>
        <pc:picChg chg="add del mod">
          <ac:chgData name="Jonathan Vella" userId="ff59d9e4-9df8-4ae6-90e3-b837e2f6651b" providerId="ADAL" clId="{7DFC60B1-A14A-46D1-AA0A-F412F7A955F4}" dt="2022-11-01T13:23:15.946" v="187" actId="478"/>
          <ac:picMkLst>
            <pc:docMk/>
            <pc:sldMk cId="726869788" sldId="2120"/>
            <ac:picMk id="1026" creationId="{955CE138-4730-3DDF-68FD-AC66A049108A}"/>
          </ac:picMkLst>
        </pc:picChg>
        <pc:picChg chg="add del mod">
          <ac:chgData name="Jonathan Vella" userId="ff59d9e4-9df8-4ae6-90e3-b837e2f6651b" providerId="ADAL" clId="{7DFC60B1-A14A-46D1-AA0A-F412F7A955F4}" dt="2022-11-01T13:22:58.156" v="186" actId="478"/>
          <ac:picMkLst>
            <pc:docMk/>
            <pc:sldMk cId="726869788" sldId="2120"/>
            <ac:picMk id="1028" creationId="{3168D8C3-67F0-CB6E-CCA1-1A62BE92EA94}"/>
          </ac:picMkLst>
        </pc:picChg>
        <pc:picChg chg="add mod">
          <ac:chgData name="Jonathan Vella" userId="ff59d9e4-9df8-4ae6-90e3-b837e2f6651b" providerId="ADAL" clId="{7DFC60B1-A14A-46D1-AA0A-F412F7A955F4}" dt="2022-11-01T13:59:41.275" v="220" actId="1076"/>
          <ac:picMkLst>
            <pc:docMk/>
            <pc:sldMk cId="726869788" sldId="2120"/>
            <ac:picMk id="1032" creationId="{70594C37-AC0F-2920-8941-FDA1B268D337}"/>
          </ac:picMkLst>
        </pc:picChg>
        <pc:picChg chg="add del mod">
          <ac:chgData name="Jonathan Vella" userId="ff59d9e4-9df8-4ae6-90e3-b837e2f6651b" providerId="ADAL" clId="{7DFC60B1-A14A-46D1-AA0A-F412F7A955F4}" dt="2022-11-01T13:59:11.472" v="208" actId="478"/>
          <ac:picMkLst>
            <pc:docMk/>
            <pc:sldMk cId="726869788" sldId="2120"/>
            <ac:picMk id="1034" creationId="{94A20981-BE9C-FD18-1DA6-B96ED07265CC}"/>
          </ac:picMkLst>
        </pc:picChg>
        <pc:picChg chg="add del mod">
          <ac:chgData name="Jonathan Vella" userId="ff59d9e4-9df8-4ae6-90e3-b837e2f6651b" providerId="ADAL" clId="{7DFC60B1-A14A-46D1-AA0A-F412F7A955F4}" dt="2022-11-01T13:59:56.715" v="224" actId="1076"/>
          <ac:picMkLst>
            <pc:docMk/>
            <pc:sldMk cId="726869788" sldId="2120"/>
            <ac:picMk id="1036" creationId="{262FE8ED-F4D9-A38A-E1EB-F0E12D4A20F9}"/>
          </ac:picMkLst>
        </pc:picChg>
      </pc:sldChg>
      <pc:sldChg chg="del">
        <pc:chgData name="Jonathan Vella" userId="ff59d9e4-9df8-4ae6-90e3-b837e2f6651b" providerId="ADAL" clId="{7DFC60B1-A14A-46D1-AA0A-F412F7A955F4}" dt="2022-11-01T13:06:09.475" v="84" actId="47"/>
        <pc:sldMkLst>
          <pc:docMk/>
          <pc:sldMk cId="32890666" sldId="2076137192"/>
        </pc:sldMkLst>
      </pc:sldChg>
      <pc:sldChg chg="del">
        <pc:chgData name="Jonathan Vella" userId="ff59d9e4-9df8-4ae6-90e3-b837e2f6651b" providerId="ADAL" clId="{7DFC60B1-A14A-46D1-AA0A-F412F7A955F4}" dt="2022-11-01T13:06:09.475" v="84" actId="47"/>
        <pc:sldMkLst>
          <pc:docMk/>
          <pc:sldMk cId="255585549" sldId="2076137193"/>
        </pc:sldMkLst>
      </pc:sldChg>
      <pc:sldChg chg="del">
        <pc:chgData name="Jonathan Vella" userId="ff59d9e4-9df8-4ae6-90e3-b837e2f6651b" providerId="ADAL" clId="{7DFC60B1-A14A-46D1-AA0A-F412F7A955F4}" dt="2022-11-01T14:21:11.516" v="303" actId="2696"/>
        <pc:sldMkLst>
          <pc:docMk/>
          <pc:sldMk cId="3656061389" sldId="2076137586"/>
        </pc:sldMkLst>
      </pc:sldChg>
      <pc:sldChg chg="del">
        <pc:chgData name="Jonathan Vella" userId="ff59d9e4-9df8-4ae6-90e3-b837e2f6651b" providerId="ADAL" clId="{7DFC60B1-A14A-46D1-AA0A-F412F7A955F4}" dt="2022-11-01T14:22:14.908" v="309" actId="47"/>
        <pc:sldMkLst>
          <pc:docMk/>
          <pc:sldMk cId="4119645885" sldId="2076137586"/>
        </pc:sldMkLst>
      </pc:sldChg>
      <pc:sldChg chg="ord">
        <pc:chgData name="Jonathan Vella" userId="ff59d9e4-9df8-4ae6-90e3-b837e2f6651b" providerId="ADAL" clId="{7DFC60B1-A14A-46D1-AA0A-F412F7A955F4}" dt="2022-11-01T14:22:33.018" v="311"/>
        <pc:sldMkLst>
          <pc:docMk/>
          <pc:sldMk cId="1100269754" sldId="2076137588"/>
        </pc:sldMkLst>
      </pc:sldChg>
      <pc:sldChg chg="del">
        <pc:chgData name="Jonathan Vella" userId="ff59d9e4-9df8-4ae6-90e3-b837e2f6651b" providerId="ADAL" clId="{7DFC60B1-A14A-46D1-AA0A-F412F7A955F4}" dt="2022-11-01T14:21:11.516" v="303" actId="2696"/>
        <pc:sldMkLst>
          <pc:docMk/>
          <pc:sldMk cId="2575649315" sldId="2076137588"/>
        </pc:sldMkLst>
      </pc:sldChg>
      <pc:sldChg chg="modSp mod">
        <pc:chgData name="Jonathan Vella" userId="ff59d9e4-9df8-4ae6-90e3-b837e2f6651b" providerId="ADAL" clId="{7DFC60B1-A14A-46D1-AA0A-F412F7A955F4}" dt="2022-11-01T13:02:05.146" v="82" actId="6549"/>
        <pc:sldMkLst>
          <pc:docMk/>
          <pc:sldMk cId="1995395958" sldId="2076137812"/>
        </pc:sldMkLst>
        <pc:spChg chg="mod">
          <ac:chgData name="Jonathan Vella" userId="ff59d9e4-9df8-4ae6-90e3-b837e2f6651b" providerId="ADAL" clId="{7DFC60B1-A14A-46D1-AA0A-F412F7A955F4}" dt="2022-11-01T13:02:05.146" v="82" actId="6549"/>
          <ac:spMkLst>
            <pc:docMk/>
            <pc:sldMk cId="1995395958" sldId="2076137812"/>
            <ac:spMk id="4" creationId="{00000000-0000-0000-0000-000000000000}"/>
          </ac:spMkLst>
        </pc:spChg>
      </pc:sldChg>
      <pc:sldChg chg="modSp mod">
        <pc:chgData name="Jonathan Vella" userId="ff59d9e4-9df8-4ae6-90e3-b837e2f6651b" providerId="ADAL" clId="{7DFC60B1-A14A-46D1-AA0A-F412F7A955F4}" dt="2022-11-01T14:09:26.243" v="250" actId="1076"/>
        <pc:sldMkLst>
          <pc:docMk/>
          <pc:sldMk cId="2069725814" sldId="2076137847"/>
        </pc:sldMkLst>
        <pc:spChg chg="mod">
          <ac:chgData name="Jonathan Vella" userId="ff59d9e4-9df8-4ae6-90e3-b837e2f6651b" providerId="ADAL" clId="{7DFC60B1-A14A-46D1-AA0A-F412F7A955F4}" dt="2022-11-01T14:08:09.007" v="240" actId="255"/>
          <ac:spMkLst>
            <pc:docMk/>
            <pc:sldMk cId="2069725814" sldId="2076137847"/>
            <ac:spMk id="2" creationId="{11B89988-DBBE-4995-A971-E9E08105E14F}"/>
          </ac:spMkLst>
        </pc:spChg>
        <pc:picChg chg="mod">
          <ac:chgData name="Jonathan Vella" userId="ff59d9e4-9df8-4ae6-90e3-b837e2f6651b" providerId="ADAL" clId="{7DFC60B1-A14A-46D1-AA0A-F412F7A955F4}" dt="2022-11-01T14:09:26.243" v="250" actId="1076"/>
          <ac:picMkLst>
            <pc:docMk/>
            <pc:sldMk cId="2069725814" sldId="2076137847"/>
            <ac:picMk id="1026" creationId="{2F1506D7-DF19-3B23-7A40-9BCD0EC55805}"/>
          </ac:picMkLst>
        </pc:picChg>
      </pc:sldChg>
      <pc:sldChg chg="addSp delSp modSp mod">
        <pc:chgData name="Jonathan Vella" userId="ff59d9e4-9df8-4ae6-90e3-b837e2f6651b" providerId="ADAL" clId="{7DFC60B1-A14A-46D1-AA0A-F412F7A955F4}" dt="2022-11-01T14:09:36.345" v="251" actId="1076"/>
        <pc:sldMkLst>
          <pc:docMk/>
          <pc:sldMk cId="3731984453" sldId="2076137848"/>
        </pc:sldMkLst>
        <pc:spChg chg="add mod">
          <ac:chgData name="Jonathan Vella" userId="ff59d9e4-9df8-4ae6-90e3-b837e2f6651b" providerId="ADAL" clId="{7DFC60B1-A14A-46D1-AA0A-F412F7A955F4}" dt="2022-11-01T14:09:36.345" v="251" actId="1076"/>
          <ac:spMkLst>
            <pc:docMk/>
            <pc:sldMk cId="3731984453" sldId="2076137848"/>
            <ac:spMk id="2" creationId="{C3251F4D-20A5-87C6-0DE4-E631C9A942AC}"/>
          </ac:spMkLst>
        </pc:spChg>
        <pc:spChg chg="mod">
          <ac:chgData name="Jonathan Vella" userId="ff59d9e4-9df8-4ae6-90e3-b837e2f6651b" providerId="ADAL" clId="{7DFC60B1-A14A-46D1-AA0A-F412F7A955F4}" dt="2022-11-01T14:09:09.940" v="248" actId="14100"/>
          <ac:spMkLst>
            <pc:docMk/>
            <pc:sldMk cId="3731984453" sldId="2076137848"/>
            <ac:spMk id="4" creationId="{67078E73-CE95-4AE0-B95C-ED1244E4C809}"/>
          </ac:spMkLst>
        </pc:spChg>
        <pc:spChg chg="del mod">
          <ac:chgData name="Jonathan Vella" userId="ff59d9e4-9df8-4ae6-90e3-b837e2f6651b" providerId="ADAL" clId="{7DFC60B1-A14A-46D1-AA0A-F412F7A955F4}" dt="2022-11-01T14:08:17.913" v="241" actId="478"/>
          <ac:spMkLst>
            <pc:docMk/>
            <pc:sldMk cId="3731984453" sldId="2076137848"/>
            <ac:spMk id="8" creationId="{4D13FDA0-1723-4050-8EA1-0FDEC3827D82}"/>
          </ac:spMkLst>
        </pc:spChg>
        <pc:picChg chg="mod">
          <ac:chgData name="Jonathan Vella" userId="ff59d9e4-9df8-4ae6-90e3-b837e2f6651b" providerId="ADAL" clId="{7DFC60B1-A14A-46D1-AA0A-F412F7A955F4}" dt="2022-11-01T14:08:39.925" v="244" actId="1076"/>
          <ac:picMkLst>
            <pc:docMk/>
            <pc:sldMk cId="3731984453" sldId="2076137848"/>
            <ac:picMk id="5122" creationId="{EF1B0097-64D1-443C-8A9C-51FA60AAFF92}"/>
          </ac:picMkLst>
        </pc:picChg>
      </pc:sldChg>
      <pc:sldChg chg="addSp delSp modSp mod">
        <pc:chgData name="Jonathan Vella" userId="ff59d9e4-9df8-4ae6-90e3-b837e2f6651b" providerId="ADAL" clId="{7DFC60B1-A14A-46D1-AA0A-F412F7A955F4}" dt="2022-11-01T14:12:05.626" v="261" actId="20577"/>
        <pc:sldMkLst>
          <pc:docMk/>
          <pc:sldMk cId="3100899148" sldId="2076137849"/>
        </pc:sldMkLst>
        <pc:spChg chg="add del mod">
          <ac:chgData name="Jonathan Vella" userId="ff59d9e4-9df8-4ae6-90e3-b837e2f6651b" providerId="ADAL" clId="{7DFC60B1-A14A-46D1-AA0A-F412F7A955F4}" dt="2022-11-01T14:11:53.141" v="257" actId="478"/>
          <ac:spMkLst>
            <pc:docMk/>
            <pc:sldMk cId="3100899148" sldId="2076137849"/>
            <ac:spMk id="8" creationId="{DCB11F25-8F10-93F7-CC69-CB962EFAFFE4}"/>
          </ac:spMkLst>
        </pc:spChg>
        <pc:spChg chg="add mod">
          <ac:chgData name="Jonathan Vella" userId="ff59d9e4-9df8-4ae6-90e3-b837e2f6651b" providerId="ADAL" clId="{7DFC60B1-A14A-46D1-AA0A-F412F7A955F4}" dt="2022-11-01T14:12:05.626" v="261" actId="20577"/>
          <ac:spMkLst>
            <pc:docMk/>
            <pc:sldMk cId="3100899148" sldId="2076137849"/>
            <ac:spMk id="9" creationId="{D2FACCBD-FBFE-17DF-AF84-9EB30AC53D6B}"/>
          </ac:spMkLst>
        </pc:spChg>
        <pc:spChg chg="del">
          <ac:chgData name="Jonathan Vella" userId="ff59d9e4-9df8-4ae6-90e3-b837e2f6651b" providerId="ADAL" clId="{7DFC60B1-A14A-46D1-AA0A-F412F7A955F4}" dt="2022-11-01T14:11:49.855" v="256" actId="478"/>
          <ac:spMkLst>
            <pc:docMk/>
            <pc:sldMk cId="3100899148" sldId="2076137849"/>
            <ac:spMk id="10" creationId="{642C08DE-D5BE-D9CE-82BE-164425DBCE7F}"/>
          </ac:spMkLst>
        </pc:spChg>
      </pc:sldChg>
      <pc:sldChg chg="addSp delSp modSp mod">
        <pc:chgData name="Jonathan Vella" userId="ff59d9e4-9df8-4ae6-90e3-b837e2f6651b" providerId="ADAL" clId="{7DFC60B1-A14A-46D1-AA0A-F412F7A955F4}" dt="2022-11-01T14:11:29.863" v="255" actId="478"/>
        <pc:sldMkLst>
          <pc:docMk/>
          <pc:sldMk cId="327522770" sldId="2076137850"/>
        </pc:sldMkLst>
        <pc:spChg chg="del">
          <ac:chgData name="Jonathan Vella" userId="ff59d9e4-9df8-4ae6-90e3-b837e2f6651b" providerId="ADAL" clId="{7DFC60B1-A14A-46D1-AA0A-F412F7A955F4}" dt="2022-11-01T14:11:29.863" v="255" actId="478"/>
          <ac:spMkLst>
            <pc:docMk/>
            <pc:sldMk cId="327522770" sldId="2076137850"/>
            <ac:spMk id="2" creationId="{C6F6389F-1A50-440C-8A73-F2BA5766A1CE}"/>
          </ac:spMkLst>
        </pc:spChg>
        <pc:spChg chg="add mod">
          <ac:chgData name="Jonathan Vella" userId="ff59d9e4-9df8-4ae6-90e3-b837e2f6651b" providerId="ADAL" clId="{7DFC60B1-A14A-46D1-AA0A-F412F7A955F4}" dt="2022-11-01T14:10:02.967" v="254"/>
          <ac:spMkLst>
            <pc:docMk/>
            <pc:sldMk cId="327522770" sldId="2076137850"/>
            <ac:spMk id="5" creationId="{9C1FF5EA-82B2-E646-FC34-50F739E75CA6}"/>
          </ac:spMkLst>
        </pc:spChg>
        <pc:spChg chg="del">
          <ac:chgData name="Jonathan Vella" userId="ff59d9e4-9df8-4ae6-90e3-b837e2f6651b" providerId="ADAL" clId="{7DFC60B1-A14A-46D1-AA0A-F412F7A955F4}" dt="2022-11-01T14:09:49.793" v="252" actId="478"/>
          <ac:spMkLst>
            <pc:docMk/>
            <pc:sldMk cId="327522770" sldId="2076137850"/>
            <ac:spMk id="10" creationId="{7D290550-282A-D3E8-D3E6-4684D644B3BD}"/>
          </ac:spMkLst>
        </pc:spChg>
      </pc:sldChg>
      <pc:sldChg chg="addSp delSp modSp mod">
        <pc:chgData name="Jonathan Vella" userId="ff59d9e4-9df8-4ae6-90e3-b837e2f6651b" providerId="ADAL" clId="{7DFC60B1-A14A-46D1-AA0A-F412F7A955F4}" dt="2022-11-01T14:12:47.358" v="271" actId="20577"/>
        <pc:sldMkLst>
          <pc:docMk/>
          <pc:sldMk cId="2455023361" sldId="2076137851"/>
        </pc:sldMkLst>
        <pc:spChg chg="add mod">
          <ac:chgData name="Jonathan Vella" userId="ff59d9e4-9df8-4ae6-90e3-b837e2f6651b" providerId="ADAL" clId="{7DFC60B1-A14A-46D1-AA0A-F412F7A955F4}" dt="2022-11-01T14:12:47.358" v="271" actId="20577"/>
          <ac:spMkLst>
            <pc:docMk/>
            <pc:sldMk cId="2455023361" sldId="2076137851"/>
            <ac:spMk id="3" creationId="{9A42B8F2-17D5-54C2-D747-7C7AE5A1E35A}"/>
          </ac:spMkLst>
        </pc:spChg>
        <pc:spChg chg="del">
          <ac:chgData name="Jonathan Vella" userId="ff59d9e4-9df8-4ae6-90e3-b837e2f6651b" providerId="ADAL" clId="{7DFC60B1-A14A-46D1-AA0A-F412F7A955F4}" dt="2022-11-01T14:12:28.836" v="267" actId="478"/>
          <ac:spMkLst>
            <pc:docMk/>
            <pc:sldMk cId="2455023361" sldId="2076137851"/>
            <ac:spMk id="8" creationId="{0D7A773F-DC88-4F58-9945-B6CB4289C08E}"/>
          </ac:spMkLst>
        </pc:spChg>
      </pc:sldChg>
      <pc:sldChg chg="addSp delSp modSp mod">
        <pc:chgData name="Jonathan Vella" userId="ff59d9e4-9df8-4ae6-90e3-b837e2f6651b" providerId="ADAL" clId="{7DFC60B1-A14A-46D1-AA0A-F412F7A955F4}" dt="2022-11-01T14:12:23.720" v="266"/>
        <pc:sldMkLst>
          <pc:docMk/>
          <pc:sldMk cId="33341425" sldId="2076137853"/>
        </pc:sldMkLst>
        <pc:spChg chg="add mod">
          <ac:chgData name="Jonathan Vella" userId="ff59d9e4-9df8-4ae6-90e3-b837e2f6651b" providerId="ADAL" clId="{7DFC60B1-A14A-46D1-AA0A-F412F7A955F4}" dt="2022-11-01T14:12:23.720" v="266"/>
          <ac:spMkLst>
            <pc:docMk/>
            <pc:sldMk cId="33341425" sldId="2076137853"/>
            <ac:spMk id="3" creationId="{40E983CF-F790-1866-7240-3A1C9ECF00C5}"/>
          </ac:spMkLst>
        </pc:spChg>
        <pc:spChg chg="del">
          <ac:chgData name="Jonathan Vella" userId="ff59d9e4-9df8-4ae6-90e3-b837e2f6651b" providerId="ADAL" clId="{7DFC60B1-A14A-46D1-AA0A-F412F7A955F4}" dt="2022-11-01T14:12:13.804" v="262" actId="478"/>
          <ac:spMkLst>
            <pc:docMk/>
            <pc:sldMk cId="33341425" sldId="2076137853"/>
            <ac:spMk id="6" creationId="{E6E3F25D-E845-4D50-A03D-ECE3EECBDC33}"/>
          </ac:spMkLst>
        </pc:spChg>
      </pc:sldChg>
      <pc:sldChg chg="addSp delSp modSp mod">
        <pc:chgData name="Jonathan Vella" userId="ff59d9e4-9df8-4ae6-90e3-b837e2f6651b" providerId="ADAL" clId="{7DFC60B1-A14A-46D1-AA0A-F412F7A955F4}" dt="2022-11-01T14:13:36.406" v="281"/>
        <pc:sldMkLst>
          <pc:docMk/>
          <pc:sldMk cId="1745609036" sldId="2076137854"/>
        </pc:sldMkLst>
        <pc:spChg chg="add mod">
          <ac:chgData name="Jonathan Vella" userId="ff59d9e4-9df8-4ae6-90e3-b837e2f6651b" providerId="ADAL" clId="{7DFC60B1-A14A-46D1-AA0A-F412F7A955F4}" dt="2022-11-01T14:13:36.406" v="281"/>
          <ac:spMkLst>
            <pc:docMk/>
            <pc:sldMk cId="1745609036" sldId="2076137854"/>
            <ac:spMk id="4" creationId="{1D30BB29-8D83-1A15-F67F-9328F492BB5C}"/>
          </ac:spMkLst>
        </pc:spChg>
        <pc:spChg chg="del">
          <ac:chgData name="Jonathan Vella" userId="ff59d9e4-9df8-4ae6-90e3-b837e2f6651b" providerId="ADAL" clId="{7DFC60B1-A14A-46D1-AA0A-F412F7A955F4}" dt="2022-11-01T14:13:22.484" v="279" actId="478"/>
          <ac:spMkLst>
            <pc:docMk/>
            <pc:sldMk cId="1745609036" sldId="2076137854"/>
            <ac:spMk id="6" creationId="{04FD033E-A3FA-41F2-B95F-D74A0F0A8549}"/>
          </ac:spMkLst>
        </pc:spChg>
      </pc:sldChg>
      <pc:sldChg chg="del">
        <pc:chgData name="Jonathan Vella" userId="ff59d9e4-9df8-4ae6-90e3-b837e2f6651b" providerId="ADAL" clId="{7DFC60B1-A14A-46D1-AA0A-F412F7A955F4}" dt="2022-11-01T14:22:05.383" v="308" actId="47"/>
        <pc:sldMkLst>
          <pc:docMk/>
          <pc:sldMk cId="618696600" sldId="2076138068"/>
        </pc:sldMkLst>
      </pc:sldChg>
      <pc:sldChg chg="del">
        <pc:chgData name="Jonathan Vella" userId="ff59d9e4-9df8-4ae6-90e3-b837e2f6651b" providerId="ADAL" clId="{7DFC60B1-A14A-46D1-AA0A-F412F7A955F4}" dt="2022-11-01T14:21:11.516" v="303" actId="2696"/>
        <pc:sldMkLst>
          <pc:docMk/>
          <pc:sldMk cId="2069035062" sldId="2076138068"/>
        </pc:sldMkLst>
      </pc:sldChg>
      <pc:sldChg chg="del">
        <pc:chgData name="Jonathan Vella" userId="ff59d9e4-9df8-4ae6-90e3-b837e2f6651b" providerId="ADAL" clId="{7DFC60B1-A14A-46D1-AA0A-F412F7A955F4}" dt="2022-11-01T14:21:11.516" v="303" actId="2696"/>
        <pc:sldMkLst>
          <pc:docMk/>
          <pc:sldMk cId="639147394" sldId="2076138069"/>
        </pc:sldMkLst>
      </pc:sldChg>
      <pc:sldChg chg="modSp mod ord">
        <pc:chgData name="Jonathan Vella" userId="ff59d9e4-9df8-4ae6-90e3-b837e2f6651b" providerId="ADAL" clId="{7DFC60B1-A14A-46D1-AA0A-F412F7A955F4}" dt="2022-11-01T14:22:54.021" v="337" actId="20577"/>
        <pc:sldMkLst>
          <pc:docMk/>
          <pc:sldMk cId="165757662" sldId="2123258757"/>
        </pc:sldMkLst>
        <pc:spChg chg="mod">
          <ac:chgData name="Jonathan Vella" userId="ff59d9e4-9df8-4ae6-90e3-b837e2f6651b" providerId="ADAL" clId="{7DFC60B1-A14A-46D1-AA0A-F412F7A955F4}" dt="2022-11-01T14:22:54.021" v="337" actId="20577"/>
          <ac:spMkLst>
            <pc:docMk/>
            <pc:sldMk cId="165757662" sldId="2123258757"/>
            <ac:spMk id="2" creationId="{931FA9A9-0B64-4936-8B60-7D542B0E598D}"/>
          </ac:spMkLst>
        </pc:spChg>
      </pc:sldChg>
      <pc:sldChg chg="del">
        <pc:chgData name="Jonathan Vella" userId="ff59d9e4-9df8-4ae6-90e3-b837e2f6651b" providerId="ADAL" clId="{7DFC60B1-A14A-46D1-AA0A-F412F7A955F4}" dt="2022-11-01T14:21:11.516" v="303" actId="2696"/>
        <pc:sldMkLst>
          <pc:docMk/>
          <pc:sldMk cId="906261116" sldId="2123258757"/>
        </pc:sldMkLst>
      </pc:sldChg>
      <pc:sldChg chg="modSp mod">
        <pc:chgData name="Jonathan Vella" userId="ff59d9e4-9df8-4ae6-90e3-b837e2f6651b" providerId="ADAL" clId="{7DFC60B1-A14A-46D1-AA0A-F412F7A955F4}" dt="2022-11-03T12:28:29.468" v="339" actId="1036"/>
        <pc:sldMkLst>
          <pc:docMk/>
          <pc:sldMk cId="2160925228" sldId="2134805707"/>
        </pc:sldMkLst>
        <pc:grpChg chg="mod">
          <ac:chgData name="Jonathan Vella" userId="ff59d9e4-9df8-4ae6-90e3-b837e2f6651b" providerId="ADAL" clId="{7DFC60B1-A14A-46D1-AA0A-F412F7A955F4}" dt="2022-11-03T12:28:29.468" v="339" actId="1036"/>
          <ac:grpSpMkLst>
            <pc:docMk/>
            <pc:sldMk cId="2160925228" sldId="2134805707"/>
            <ac:grpSpMk id="90" creationId="{70DDC97A-A5D5-4C58-826F-70469F9FB790}"/>
          </ac:grpSpMkLst>
        </pc:grpChg>
      </pc:sldChg>
      <pc:sldChg chg="del">
        <pc:chgData name="Jonathan Vella" userId="ff59d9e4-9df8-4ae6-90e3-b837e2f6651b" providerId="ADAL" clId="{7DFC60B1-A14A-46D1-AA0A-F412F7A955F4}" dt="2022-11-01T13:06:09.475" v="84" actId="47"/>
        <pc:sldMkLst>
          <pc:docMk/>
          <pc:sldMk cId="2766914579" sldId="2142532272"/>
        </pc:sldMkLst>
      </pc:sldChg>
      <pc:sldChg chg="del">
        <pc:chgData name="Jonathan Vella" userId="ff59d9e4-9df8-4ae6-90e3-b837e2f6651b" providerId="ADAL" clId="{7DFC60B1-A14A-46D1-AA0A-F412F7A955F4}" dt="2022-11-01T14:21:11.516" v="303" actId="2696"/>
        <pc:sldMkLst>
          <pc:docMk/>
          <pc:sldMk cId="588858052" sldId="2142532367"/>
        </pc:sldMkLst>
      </pc:sldChg>
      <pc:sldChg chg="del">
        <pc:chgData name="Jonathan Vella" userId="ff59d9e4-9df8-4ae6-90e3-b837e2f6651b" providerId="ADAL" clId="{7DFC60B1-A14A-46D1-AA0A-F412F7A955F4}" dt="2022-11-01T13:10:48.309" v="85" actId="47"/>
        <pc:sldMkLst>
          <pc:docMk/>
          <pc:sldMk cId="2789173668" sldId="2145705977"/>
        </pc:sldMkLst>
      </pc:sldChg>
      <pc:sldChg chg="del">
        <pc:chgData name="Jonathan Vella" userId="ff59d9e4-9df8-4ae6-90e3-b837e2f6651b" providerId="ADAL" clId="{7DFC60B1-A14A-46D1-AA0A-F412F7A955F4}" dt="2022-11-01T13:10:49.465" v="86" actId="47"/>
        <pc:sldMkLst>
          <pc:docMk/>
          <pc:sldMk cId="3454076302" sldId="2145705979"/>
        </pc:sldMkLst>
      </pc:sldChg>
      <pc:sldChg chg="addSp delSp modSp mod">
        <pc:chgData name="Jonathan Vella" userId="ff59d9e4-9df8-4ae6-90e3-b837e2f6651b" providerId="ADAL" clId="{7DFC60B1-A14A-46D1-AA0A-F412F7A955F4}" dt="2022-11-01T14:13:14.534" v="278" actId="20577"/>
        <pc:sldMkLst>
          <pc:docMk/>
          <pc:sldMk cId="3426613854" sldId="2145705981"/>
        </pc:sldMkLst>
        <pc:spChg chg="add mod">
          <ac:chgData name="Jonathan Vella" userId="ff59d9e4-9df8-4ae6-90e3-b837e2f6651b" providerId="ADAL" clId="{7DFC60B1-A14A-46D1-AA0A-F412F7A955F4}" dt="2022-11-01T14:13:14.534" v="278" actId="20577"/>
          <ac:spMkLst>
            <pc:docMk/>
            <pc:sldMk cId="3426613854" sldId="2145705981"/>
            <ac:spMk id="3" creationId="{892B0B54-07B3-6315-316B-19E1DB125278}"/>
          </ac:spMkLst>
        </pc:spChg>
        <pc:spChg chg="del">
          <ac:chgData name="Jonathan Vella" userId="ff59d9e4-9df8-4ae6-90e3-b837e2f6651b" providerId="ADAL" clId="{7DFC60B1-A14A-46D1-AA0A-F412F7A955F4}" dt="2022-11-01T14:12:57.295" v="272" actId="478"/>
          <ac:spMkLst>
            <pc:docMk/>
            <pc:sldMk cId="3426613854" sldId="2145705981"/>
            <ac:spMk id="6" creationId="{04FD033E-A3FA-41F2-B95F-D74A0F0A8549}"/>
          </ac:spMkLst>
        </pc:spChg>
        <pc:graphicFrameChg chg="add del mod">
          <ac:chgData name="Jonathan Vella" userId="ff59d9e4-9df8-4ae6-90e3-b837e2f6651b" providerId="ADAL" clId="{7DFC60B1-A14A-46D1-AA0A-F412F7A955F4}" dt="2022-11-01T14:13:07.575" v="275" actId="478"/>
          <ac:graphicFrameMkLst>
            <pc:docMk/>
            <pc:sldMk cId="3426613854" sldId="2145705981"/>
            <ac:graphicFrameMk id="4" creationId="{C4E3E912-DCB5-6B3E-4FF1-9C4EC31EF6F1}"/>
          </ac:graphicFrameMkLst>
        </pc:graphicFrameChg>
      </pc:sldChg>
      <pc:sldChg chg="modSp ord">
        <pc:chgData name="Jonathan Vella" userId="ff59d9e4-9df8-4ae6-90e3-b837e2f6651b" providerId="ADAL" clId="{7DFC60B1-A14A-46D1-AA0A-F412F7A955F4}" dt="2022-11-01T12:41:20.774" v="47" actId="6549"/>
        <pc:sldMkLst>
          <pc:docMk/>
          <pc:sldMk cId="228391779" sldId="2147469866"/>
        </pc:sldMkLst>
        <pc:spChg chg="mod">
          <ac:chgData name="Jonathan Vella" userId="ff59d9e4-9df8-4ae6-90e3-b837e2f6651b" providerId="ADAL" clId="{7DFC60B1-A14A-46D1-AA0A-F412F7A955F4}" dt="2022-11-01T12:41:20.774" v="47" actId="6549"/>
          <ac:spMkLst>
            <pc:docMk/>
            <pc:sldMk cId="228391779" sldId="2147469866"/>
            <ac:spMk id="12" creationId="{C88486B0-ED6B-477E-B4C7-42553BFA46ED}"/>
          </ac:spMkLst>
        </pc:spChg>
      </pc:sldChg>
      <pc:sldChg chg="modSp add mod ord">
        <pc:chgData name="Jonathan Vella" userId="ff59d9e4-9df8-4ae6-90e3-b837e2f6651b" providerId="ADAL" clId="{7DFC60B1-A14A-46D1-AA0A-F412F7A955F4}" dt="2022-11-01T13:12:16.671" v="121" actId="20577"/>
        <pc:sldMkLst>
          <pc:docMk/>
          <pc:sldMk cId="391127726" sldId="2147478643"/>
        </pc:sldMkLst>
        <pc:spChg chg="mod">
          <ac:chgData name="Jonathan Vella" userId="ff59d9e4-9df8-4ae6-90e3-b837e2f6651b" providerId="ADAL" clId="{7DFC60B1-A14A-46D1-AA0A-F412F7A955F4}" dt="2022-11-01T13:12:16.671" v="121" actId="20577"/>
          <ac:spMkLst>
            <pc:docMk/>
            <pc:sldMk cId="391127726" sldId="2147478643"/>
            <ac:spMk id="4" creationId="{00000000-0000-0000-0000-000000000000}"/>
          </ac:spMkLst>
        </pc:spChg>
      </pc:sldChg>
      <pc:sldChg chg="modSp add mod ord">
        <pc:chgData name="Jonathan Vella" userId="ff59d9e4-9df8-4ae6-90e3-b837e2f6651b" providerId="ADAL" clId="{7DFC60B1-A14A-46D1-AA0A-F412F7A955F4}" dt="2022-11-01T13:12:45.358" v="155" actId="20577"/>
        <pc:sldMkLst>
          <pc:docMk/>
          <pc:sldMk cId="1739653908" sldId="2147478644"/>
        </pc:sldMkLst>
        <pc:spChg chg="mod">
          <ac:chgData name="Jonathan Vella" userId="ff59d9e4-9df8-4ae6-90e3-b837e2f6651b" providerId="ADAL" clId="{7DFC60B1-A14A-46D1-AA0A-F412F7A955F4}" dt="2022-11-01T13:12:45.358" v="155" actId="20577"/>
          <ac:spMkLst>
            <pc:docMk/>
            <pc:sldMk cId="1739653908" sldId="2147478644"/>
            <ac:spMk id="4" creationId="{00000000-0000-0000-0000-000000000000}"/>
          </ac:spMkLst>
        </pc:spChg>
      </pc:sldChg>
      <pc:sldChg chg="modSp add mod">
        <pc:chgData name="Jonathan Vella" userId="ff59d9e4-9df8-4ae6-90e3-b837e2f6651b" providerId="ADAL" clId="{7DFC60B1-A14A-46D1-AA0A-F412F7A955F4}" dt="2022-11-01T14:20:59.284" v="302" actId="20577"/>
        <pc:sldMkLst>
          <pc:docMk/>
          <pc:sldMk cId="3652945170" sldId="2147478645"/>
        </pc:sldMkLst>
        <pc:spChg chg="mod">
          <ac:chgData name="Jonathan Vella" userId="ff59d9e4-9df8-4ae6-90e3-b837e2f6651b" providerId="ADAL" clId="{7DFC60B1-A14A-46D1-AA0A-F412F7A955F4}" dt="2022-11-01T14:20:59.284" v="302" actId="20577"/>
          <ac:spMkLst>
            <pc:docMk/>
            <pc:sldMk cId="3652945170" sldId="2147478645"/>
            <ac:spMk id="4" creationId="{00000000-0000-0000-0000-000000000000}"/>
          </ac:spMkLst>
        </pc:spChg>
      </pc:sldChg>
      <pc:sldMasterChg chg="delSldLayout">
        <pc:chgData name="Jonathan Vella" userId="ff59d9e4-9df8-4ae6-90e3-b837e2f6651b" providerId="ADAL" clId="{7DFC60B1-A14A-46D1-AA0A-F412F7A955F4}" dt="2022-11-01T13:05:17.250" v="83" actId="47"/>
        <pc:sldMasterMkLst>
          <pc:docMk/>
          <pc:sldMasterMk cId="1792881742" sldId="2147483957"/>
        </pc:sldMasterMkLst>
        <pc:sldLayoutChg chg="del">
          <pc:chgData name="Jonathan Vella" userId="ff59d9e4-9df8-4ae6-90e3-b837e2f6651b" providerId="ADAL" clId="{7DFC60B1-A14A-46D1-AA0A-F412F7A955F4}" dt="2022-11-01T13:05:17.250" v="83" actId="47"/>
          <pc:sldLayoutMkLst>
            <pc:docMk/>
            <pc:sldMasterMk cId="1792881742" sldId="2147483957"/>
            <pc:sldLayoutMk cId="360905976" sldId="2147484333"/>
          </pc:sldLayoutMkLst>
        </pc:sldLayoutChg>
      </pc:sldMasterChg>
      <pc:sldMasterChg chg="delSldLayout">
        <pc:chgData name="Jonathan Vella" userId="ff59d9e4-9df8-4ae6-90e3-b837e2f6651b" providerId="ADAL" clId="{7DFC60B1-A14A-46D1-AA0A-F412F7A955F4}" dt="2022-11-01T13:06:09.475" v="84" actId="47"/>
        <pc:sldMasterMkLst>
          <pc:docMk/>
          <pc:sldMasterMk cId="1176172915" sldId="2147484031"/>
        </pc:sldMasterMkLst>
        <pc:sldLayoutChg chg="del">
          <pc:chgData name="Jonathan Vella" userId="ff59d9e4-9df8-4ae6-90e3-b837e2f6651b" providerId="ADAL" clId="{7DFC60B1-A14A-46D1-AA0A-F412F7A955F4}" dt="2022-11-01T13:06:09.475" v="84" actId="47"/>
          <pc:sldLayoutMkLst>
            <pc:docMk/>
            <pc:sldMasterMk cId="1176172915" sldId="2147484031"/>
            <pc:sldLayoutMk cId="1260485264" sldId="2147484333"/>
          </pc:sldLayoutMkLst>
        </pc:sldLayoutChg>
      </pc:sldMasterChg>
      <pc:sldMasterChg chg="del delSldLayout">
        <pc:chgData name="Jonathan Vella" userId="ff59d9e4-9df8-4ae6-90e3-b837e2f6651b" providerId="ADAL" clId="{7DFC60B1-A14A-46D1-AA0A-F412F7A955F4}" dt="2022-11-01T14:21:11.516" v="303" actId="2696"/>
        <pc:sldMasterMkLst>
          <pc:docMk/>
          <pc:sldMasterMk cId="3452322312" sldId="2147484408"/>
        </pc:sldMasterMkLst>
        <pc:sldLayoutChg chg="del">
          <pc:chgData name="Jonathan Vella" userId="ff59d9e4-9df8-4ae6-90e3-b837e2f6651b" providerId="ADAL" clId="{7DFC60B1-A14A-46D1-AA0A-F412F7A955F4}" dt="2022-11-01T14:21:11.516" v="303" actId="2696"/>
          <pc:sldLayoutMkLst>
            <pc:docMk/>
            <pc:sldMasterMk cId="3452322312" sldId="2147484408"/>
            <pc:sldLayoutMk cId="4070104801" sldId="2147484409"/>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199112347" sldId="2147484410"/>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788258961" sldId="2147484411"/>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054659032" sldId="2147484412"/>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2576626466" sldId="2147484413"/>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146936992" sldId="2147484414"/>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287455956" sldId="2147484415"/>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69382918" sldId="2147484416"/>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2147481410" sldId="2147484417"/>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2476528243" sldId="2147484418"/>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167585000" sldId="2147484419"/>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140086038" sldId="2147484420"/>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712746898" sldId="2147484421"/>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437552907" sldId="2147484422"/>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111796414" sldId="2147484423"/>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911080398" sldId="2147484424"/>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038995400" sldId="2147484425"/>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847178423" sldId="2147484426"/>
          </pc:sldLayoutMkLst>
        </pc:sldLayoutChg>
      </pc:sldMasterChg>
      <pc:sldMasterChg chg="del delSldLayout">
        <pc:chgData name="Jonathan Vella" userId="ff59d9e4-9df8-4ae6-90e3-b837e2f6651b" providerId="ADAL" clId="{7DFC60B1-A14A-46D1-AA0A-F412F7A955F4}" dt="2022-11-01T14:21:11.516" v="303" actId="2696"/>
        <pc:sldMasterMkLst>
          <pc:docMk/>
          <pc:sldMasterMk cId="142839188" sldId="2147484427"/>
        </pc:sldMasterMkLst>
        <pc:sldLayoutChg chg="del">
          <pc:chgData name="Jonathan Vella" userId="ff59d9e4-9df8-4ae6-90e3-b837e2f6651b" providerId="ADAL" clId="{7DFC60B1-A14A-46D1-AA0A-F412F7A955F4}" dt="2022-11-01T14:21:11.516" v="303" actId="2696"/>
          <pc:sldLayoutMkLst>
            <pc:docMk/>
            <pc:sldMasterMk cId="142839188" sldId="2147484427"/>
            <pc:sldLayoutMk cId="2941214939" sldId="2147484428"/>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575293840" sldId="2147484429"/>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270442168" sldId="2147484430"/>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3812856274" sldId="2147484431"/>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740342557" sldId="2147484432"/>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1273750398" sldId="2147484433"/>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136490631" sldId="2147484434"/>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3546940993" sldId="2147484435"/>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3663395398" sldId="2147484436"/>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29867912" sldId="2147484437"/>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495556709" sldId="2147484438"/>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776635942" sldId="2147484439"/>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211932278" sldId="2147484440"/>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1138909452" sldId="2147484441"/>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400635676" sldId="2147484442"/>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469036305" sldId="2147484443"/>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1451236686" sldId="2147484444"/>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1/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179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In Azure Active Directory (Azure AD), part of Microsoft </a:t>
            </a:r>
            <a:r>
              <a:rPr lang="en-US" b="0" i="0" dirty="0" err="1">
                <a:solidFill>
                  <a:srgbClr val="171717"/>
                </a:solidFill>
                <a:effectLst/>
                <a:latin typeface="Segoe UI" panose="020B0502040204020203" pitchFamily="34" charset="0"/>
              </a:rPr>
              <a:t>Entra</a:t>
            </a:r>
            <a:r>
              <a:rPr lang="en-US" b="0" i="0" dirty="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Administrative independence</a:t>
            </a:r>
          </a:p>
          <a:p>
            <a:pPr algn="l"/>
            <a:r>
              <a:rPr lang="en-US" b="0" i="0" dirty="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dirty="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have your own </a:t>
            </a:r>
            <a:r>
              <a:rPr lang="en-US" b="0" i="1" dirty="0">
                <a:solidFill>
                  <a:srgbClr val="171717"/>
                </a:solidFill>
                <a:effectLst/>
                <a:latin typeface="Segoe UI" panose="020B0502040204020203" pitchFamily="34" charset="0"/>
              </a:rPr>
              <a:t>control plane</a:t>
            </a:r>
            <a:r>
              <a:rPr lang="en-US" b="0" i="0" dirty="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Landing zone 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https://docs.microsoft.com/en-us/azure/cloud-adoption-framework/ready/landing-zone/implementation-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Portal - Azure landing zone acceler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Bicep - </a:t>
            </a:r>
            <a:r>
              <a:rPr lang="en-US" b="0" dirty="0">
                <a:solidFill>
                  <a:srgbClr val="D4D4D4"/>
                </a:solidFill>
                <a:effectLst/>
                <a:latin typeface="Consolas" panose="020B0609020204030204" pitchFamily="49" charset="0"/>
              </a:rPr>
              <a:t>modular appr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Terraform – Popular OSS to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661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2416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9</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0</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1</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2</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3</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4</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5</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59169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5098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r>
              <a:rPr lang="en-US" b="0" dirty="0"/>
              <a:t>This is a shared responsibility. Microsoft enables it with the proper capabilities and features in its platform, but the customer has to build it leveraging those capabilities correctly.</a:t>
            </a:r>
          </a:p>
          <a:p>
            <a:pPr marL="0" indent="0">
              <a:buFont typeface="Wingdings" panose="05000000000000000000" pitchFamily="2" charset="2"/>
              <a:buNone/>
            </a:pPr>
            <a:endParaRPr lang="en-US" b="1" dirty="0"/>
          </a:p>
          <a:p>
            <a:pPr marL="171450" indent="-171450">
              <a:buFontTx/>
              <a:buChar char="-"/>
            </a:pPr>
            <a:r>
              <a:rPr lang="en-US" b="0" dirty="0"/>
              <a:t>Azure's hybrid model—with unified operational management control processes and governance management—offers multiple solutions, enabling customers to confidently deliver hybrid workloads.</a:t>
            </a:r>
          </a:p>
          <a:p>
            <a:pPr marL="171450" indent="-171450">
              <a:buFontTx/>
              <a:buChar char="-"/>
            </a:pPr>
            <a:r>
              <a:rPr lang="en-US" b="0" dirty="0"/>
              <a:t>Azure provides customers with the controls, methods, tools, and support</a:t>
            </a:r>
          </a:p>
          <a:p>
            <a:pPr marL="171450" indent="-171450">
              <a:buFontTx/>
              <a:buChar char="-"/>
            </a:pPr>
            <a:r>
              <a:rPr lang="en-US" b="0" dirty="0"/>
              <a:t>The customer brings a deep understanding of their goals, constraints, and requirements, along with knowledge specific to their industry.</a:t>
            </a:r>
          </a:p>
          <a:p>
            <a:pPr marL="171450" indent="-171450">
              <a:buFontTx/>
              <a:buChar char="-"/>
            </a:pPr>
            <a:endParaRPr lang="en-US" b="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09046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Segoe "/>
                <a:ea typeface="+mn-ea"/>
                <a:cs typeface="+mn-cs"/>
              </a:rPr>
              <a:t>Microsoft Azure Well-Architected Framework enables cloud solution succ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dirty="0">
              <a:solidFill>
                <a:schemeClr val="tx1"/>
              </a:solidFill>
              <a:effectLst/>
              <a:latin typeface="Segoe "/>
              <a:ea typeface="+mn-ea"/>
              <a:cs typeface="+mn-cs"/>
            </a:endParaRPr>
          </a:p>
          <a:p>
            <a:pPr marL="0" indent="0">
              <a:buFontTx/>
              <a:buNone/>
            </a:pPr>
            <a:r>
              <a:rPr lang="en-US" sz="1200" b="1" i="0" u="none" strike="noStrike" kern="1200" dirty="0">
                <a:solidFill>
                  <a:schemeClr val="tx1"/>
                </a:solidFill>
                <a:effectLst/>
                <a:latin typeface="Segoe "/>
                <a:ea typeface="+mn-ea"/>
                <a:cs typeface="+mn-cs"/>
              </a:rPr>
              <a:t>Well-architected</a:t>
            </a:r>
            <a:r>
              <a:rPr lang="en-US" sz="1200" b="0" i="0" u="none" strike="noStrike" kern="1200" dirty="0">
                <a:solidFill>
                  <a:schemeClr val="tx1"/>
                </a:solidFill>
                <a:effectLst/>
                <a:latin typeface="Segoe "/>
                <a:ea typeface="+mn-ea"/>
                <a:cs typeface="+mn-cs"/>
              </a:rPr>
              <a:t> </a:t>
            </a:r>
          </a:p>
          <a:p>
            <a:pPr marL="171450" indent="-171450">
              <a:buFont typeface="Wingdings" panose="05000000000000000000" pitchFamily="2" charset="2"/>
              <a:buChar char="Ø"/>
            </a:pPr>
            <a:r>
              <a:rPr lang="en-US" sz="1200" b="0" i="0" u="none" strike="noStrike" kern="1200" dirty="0">
                <a:solidFill>
                  <a:schemeClr val="tx1"/>
                </a:solidFill>
                <a:effectLst/>
                <a:latin typeface="Segoe "/>
                <a:ea typeface="+mn-ea"/>
                <a:cs typeface="+mn-cs"/>
              </a:rPr>
              <a:t>Operationalizes </a:t>
            </a:r>
            <a:r>
              <a:rPr lang="en-US" sz="1200" dirty="0">
                <a:solidFill>
                  <a:schemeClr val="bg1"/>
                </a:solidFill>
                <a:highlight>
                  <a:srgbClr val="000000"/>
                </a:highlight>
              </a:rPr>
              <a:t>Microsoft Azure Well-Architected Framework’s 5 principles : cost optimization, operational excellence, performance efficiency, and reliability.</a:t>
            </a:r>
          </a:p>
          <a:p>
            <a:pPr marL="171450" indent="-171450">
              <a:buFont typeface="Wingdings" panose="05000000000000000000" pitchFamily="2" charset="2"/>
              <a:buChar char="Ø"/>
            </a:pPr>
            <a:r>
              <a:rPr lang="en-US" sz="1200" spc="-50" dirty="0">
                <a:solidFill>
                  <a:srgbClr val="50E6FF"/>
                </a:solidFill>
                <a:latin typeface="Segoe UI Semibold"/>
              </a:rPr>
              <a:t>Design</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build</a:t>
            </a:r>
            <a:r>
              <a:rPr lang="en-US" sz="1200" dirty="0">
                <a:solidFill>
                  <a:schemeClr val="bg1"/>
                </a:solidFill>
                <a:latin typeface="Segoe UI" panose="020B0502040204020203" pitchFamily="34" charset="0"/>
                <a:cs typeface="Segoe UI" panose="020B0502040204020203" pitchFamily="34" charset="0"/>
              </a:rPr>
              <a:t>, and </a:t>
            </a:r>
            <a:r>
              <a:rPr lang="en-US" sz="1200" spc="-50" dirty="0">
                <a:solidFill>
                  <a:srgbClr val="50E6FF"/>
                </a:solidFill>
                <a:latin typeface="Segoe UI Semibold"/>
              </a:rPr>
              <a:t>optimize</a:t>
            </a:r>
            <a:r>
              <a:rPr lang="en-US" sz="1200" dirty="0">
                <a:solidFill>
                  <a:schemeClr val="bg1"/>
                </a:solidFill>
                <a:latin typeface="Segoe UI" panose="020B0502040204020203" pitchFamily="34" charset="0"/>
                <a:cs typeface="Segoe UI" panose="020B0502040204020203" pitchFamily="34" charset="0"/>
              </a:rPr>
              <a:t> cloud solutions, using </a:t>
            </a:r>
            <a:r>
              <a:rPr lang="en-US" sz="1200" spc="-50" dirty="0">
                <a:solidFill>
                  <a:srgbClr val="50E6FF"/>
                </a:solidFill>
                <a:latin typeface="Segoe UI Semibold"/>
              </a:rPr>
              <a:t>architectural</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guidance</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assessments</a:t>
            </a:r>
            <a:r>
              <a:rPr lang="en-US" sz="1200" dirty="0">
                <a:solidFill>
                  <a:schemeClr val="bg1"/>
                </a:solidFill>
                <a:latin typeface="Segoe UI" panose="020B0502040204020203" pitchFamily="34" charset="0"/>
                <a:cs typeface="Segoe UI" panose="020B0502040204020203" pitchFamily="34" charset="0"/>
              </a:rPr>
              <a:t>, and </a:t>
            </a:r>
            <a:r>
              <a:rPr lang="en-US" sz="1200" spc="-50" dirty="0">
                <a:solidFill>
                  <a:srgbClr val="50E6FF"/>
                </a:solidFill>
                <a:latin typeface="Segoe UI Semibold"/>
              </a:rPr>
              <a:t>industry</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best</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practices.</a:t>
            </a:r>
          </a:p>
          <a:p>
            <a:pPr marL="0" indent="0">
              <a:buFont typeface="Wingdings" panose="05000000000000000000" pitchFamily="2" charset="2"/>
              <a:buNone/>
            </a:pPr>
            <a:endParaRPr lang="en-US" sz="1200" dirty="0">
              <a:solidFill>
                <a:schemeClr val="bg1"/>
              </a:solidFill>
              <a:highlight>
                <a:srgbClr val="000000"/>
              </a:highlight>
            </a:endParaRP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Cost-Optimization: </a:t>
            </a:r>
            <a:r>
              <a:rPr lang="en-US" sz="1200" b="0" kern="1200" dirty="0">
                <a:solidFill>
                  <a:schemeClr val="tx1"/>
                </a:solidFill>
                <a:effectLst/>
                <a:latin typeface="+mn-lt"/>
                <a:ea typeface="+mn-ea"/>
                <a:cs typeface="+mn-cs"/>
              </a:rPr>
              <a:t>Design "pay-as-you-go" cost-effective workloads, aligned with business objectives/ROI, while maintaining a budget.</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Operational Excellence: </a:t>
            </a:r>
            <a:r>
              <a:rPr lang="en-US" sz="1200" b="0" kern="1200" dirty="0">
                <a:solidFill>
                  <a:schemeClr val="tx1"/>
                </a:solidFill>
                <a:effectLst/>
                <a:latin typeface="+mn-lt"/>
                <a:ea typeface="+mn-ea"/>
                <a:cs typeface="+mn-cs"/>
              </a:rPr>
              <a:t>Design reliable, predictable, automated deployments, with monitoring, performance management, and extensive automated and manual testing from an infrastructure and application perspective.</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Performance Efficiency: </a:t>
            </a:r>
            <a:r>
              <a:rPr lang="en-US" sz="1200" b="0" kern="1200" dirty="0">
                <a:solidFill>
                  <a:schemeClr val="tx1"/>
                </a:solidFill>
                <a:effectLst/>
                <a:latin typeface="+mn-lt"/>
                <a:ea typeface="+mn-ea"/>
                <a:cs typeface="+mn-cs"/>
              </a:rPr>
              <a:t>Lower maintenance costs, improve user experience, and increase agility by architecting solutions with scalability baked-in. Move to PaaS by default, to use built-in scaling functionality.</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Reliability: </a:t>
            </a:r>
            <a:r>
              <a:rPr lang="en-US" sz="1200" b="0" kern="1200" dirty="0">
                <a:solidFill>
                  <a:schemeClr val="tx1"/>
                </a:solidFill>
                <a:effectLst/>
                <a:latin typeface="+mn-lt"/>
                <a:ea typeface="+mn-ea"/>
                <a:cs typeface="+mn-cs"/>
              </a:rPr>
              <a:t>Scale out instead of scaling up with expensive hardware, and build reliability across deployments with resilient, HA applications, and failure mode analysis.</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Security: </a:t>
            </a:r>
            <a:r>
              <a:rPr lang="en-US" sz="1200" b="0" kern="1200" dirty="0">
                <a:solidFill>
                  <a:schemeClr val="tx1"/>
                </a:solidFill>
                <a:effectLst/>
                <a:latin typeface="+mn-lt"/>
                <a:ea typeface="+mn-ea"/>
                <a:cs typeface="+mn-cs"/>
              </a:rPr>
              <a:t>Build with security by design--to provide confidentiality, integrity, and availability assurances against deliberate attacks and abuse of your valuable data and systems. </a:t>
            </a:r>
          </a:p>
          <a:p>
            <a:pPr marL="342900" indent="-342900">
              <a:buFont typeface="Wingdings" panose="05000000000000000000" pitchFamily="2" charset="2"/>
              <a:buChar char="§"/>
            </a:pPr>
            <a:endParaRPr lang="en-US" sz="1200" kern="1200" dirty="0">
              <a:solidFill>
                <a:schemeClr val="tx1"/>
              </a:solidFill>
              <a:effectLst/>
              <a:latin typeface="+mn-lt"/>
              <a:ea typeface="+mn-ea"/>
              <a:cs typeface="+mn-cs"/>
            </a:endParaRPr>
          </a:p>
          <a:p>
            <a:endParaRPr lang="en-US" b="1"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097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1158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77540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35849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The ALZ architecture should </a:t>
            </a:r>
            <a:r>
              <a:rPr lang="en-US" sz="900" b="1" i="0" strike="sngStrike" kern="1200" dirty="0">
                <a:solidFill>
                  <a:schemeClr val="tx1"/>
                </a:solidFill>
                <a:effectLst/>
                <a:latin typeface="Segoe UI" panose="020B0502040204020203" pitchFamily="34" charset="0"/>
                <a:ea typeface="+mn-ea"/>
                <a:cs typeface="+mn-cs"/>
              </a:rPr>
              <a:t>NOT</a:t>
            </a:r>
            <a:r>
              <a:rPr lang="en-US" sz="900" b="0" i="0" strike="sngStrike"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dirty="0" err="1">
                <a:solidFill>
                  <a:schemeClr val="tx1"/>
                </a:solidFill>
                <a:effectLst/>
                <a:latin typeface="Segoe UI" panose="020B0502040204020203" pitchFamily="34" charset="0"/>
                <a:ea typeface="+mn-ea"/>
                <a:cs typeface="+mn-cs"/>
              </a:rPr>
              <a:t>AppOps</a:t>
            </a:r>
            <a:r>
              <a:rPr lang="en-US" sz="900" b="0" i="0" strike="sngStrike"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dirty="0">
                <a:latin typeface="Segoe UI"/>
                <a:cs typeface="Segoe UI"/>
              </a:rPr>
              <a:t>The ALZ architecture</a:t>
            </a:r>
            <a:r>
              <a:rPr lang="en-US" sz="900" b="0" i="0" strike="sngStrike" kern="1200" dirty="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dirty="0">
                <a:solidFill>
                  <a:schemeClr val="tx1"/>
                </a:solidFill>
                <a:effectLst/>
                <a:latin typeface="Segoe UI"/>
                <a:cs typeface="Segoe UI"/>
              </a:rPr>
              <a:t>The</a:t>
            </a:r>
            <a:r>
              <a:rPr lang="en-US" sz="900" strike="sngStrike" dirty="0">
                <a:latin typeface="Segoe UI"/>
                <a:cs typeface="Segoe UI"/>
              </a:rPr>
              <a:t> ALZ</a:t>
            </a:r>
            <a:r>
              <a:rPr lang="en-US" sz="900" b="0" i="0" strike="sngStrike" kern="1200" dirty="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dirty="0">
              <a:latin typeface="Segoe UI"/>
              <a:cs typeface="Segoe UI"/>
            </a:endParaRPr>
          </a:p>
          <a:p>
            <a:pPr marL="228600" indent="-228600">
              <a:buFont typeface="+mj-lt"/>
              <a:buAutoNum type="arabicPeriod"/>
            </a:pPr>
            <a:r>
              <a:rPr lang="en-US" sz="882" b="0" i="0" strike="sngStrike"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2022 1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6.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6.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17.xml"/><Relationship Id="rId4" Type="http://schemas.openxmlformats.org/officeDocument/2006/relationships/image" Target="../media/image94.png"/></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7.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1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7.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7.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7.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8.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8.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9.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9.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1/3/20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1/3/20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1/3/20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1/3/20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1/3/20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3/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3/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852583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4910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3064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609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1336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41639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056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976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40781755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32333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20271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045493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243766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434232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878124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83460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2229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3984318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96014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4178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0358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5677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1491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69888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7466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9981788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9786472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11687890"/>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9A839-C0AA-4876-BC8F-56B801FBC2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5675DC-4BA1-49A7-BA65-77E8927AC8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5160C6-BC68-4F7F-9731-0297CBA0ECF1}"/>
              </a:ext>
            </a:extLst>
          </p:cNvPr>
          <p:cNvSpPr>
            <a:spLocks noGrp="1"/>
          </p:cNvSpPr>
          <p:nvPr>
            <p:ph type="dt" sz="half" idx="10"/>
          </p:nvPr>
        </p:nvSpPr>
        <p:spPr/>
        <p:txBody>
          <a:bodyPr/>
          <a:lstStyle/>
          <a:p>
            <a:fld id="{64E63410-0D72-45EF-B63B-2D9E10042F57}" type="datetimeFigureOut">
              <a:rPr lang="en-US" smtClean="0"/>
              <a:t>11/3/2022</a:t>
            </a:fld>
            <a:endParaRPr lang="en-US"/>
          </a:p>
        </p:txBody>
      </p:sp>
      <p:sp>
        <p:nvSpPr>
          <p:cNvPr id="5" name="Footer Placeholder 4">
            <a:extLst>
              <a:ext uri="{FF2B5EF4-FFF2-40B4-BE49-F238E27FC236}">
                <a16:creationId xmlns:a16="http://schemas.microsoft.com/office/drawing/2014/main" id="{E29EF4F0-CD41-46A7-8263-F7A7E0E4CB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E591D0-6AA8-4D5A-BDCA-58032E2F509F}"/>
              </a:ext>
            </a:extLst>
          </p:cNvPr>
          <p:cNvSpPr>
            <a:spLocks noGrp="1"/>
          </p:cNvSpPr>
          <p:nvPr>
            <p:ph type="sldNum" sz="quarter" idx="12"/>
          </p:nvPr>
        </p:nvSpPr>
        <p:spPr/>
        <p:txBody>
          <a:bodyPr/>
          <a:lstStyle/>
          <a:p>
            <a:fld id="{3BD6993D-DFB5-473B-9734-35F7D367F4BE}" type="slidenum">
              <a:rPr lang="en-US" smtClean="0"/>
              <a:t>‹#›</a:t>
            </a:fld>
            <a:endParaRPr lang="en-US"/>
          </a:p>
        </p:txBody>
      </p:sp>
    </p:spTree>
    <p:extLst>
      <p:ext uri="{BB962C8B-B14F-4D97-AF65-F5344CB8AC3E}">
        <p14:creationId xmlns:p14="http://schemas.microsoft.com/office/powerpoint/2010/main" val="2972367391"/>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63065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69" y="0"/>
            <a:ext cx="5326931" cy="484094"/>
          </a:xfrm>
        </p:spPr>
        <p:txBody>
          <a:bodyPr vert="horz" wrap="square" lIns="127337" tIns="79586" rIns="127337" bIns="79586" rtlCol="0" anchor="t">
            <a:noAutofit/>
          </a:bodyPr>
          <a:lstStyle>
            <a:lvl1pPr marL="0" indent="0" algn="r" defTabSz="648691">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a:latin typeface="Segoe UI Light"/>
              </a:rPr>
              <a:t>Presenter: Insert Name / OneNote page:  / Slide 1 of X</a:t>
            </a:r>
            <a:endParaRPr lang="en-US" sz="1059">
              <a:latin typeface="Segoe UI Light"/>
            </a:endParaRPr>
          </a:p>
        </p:txBody>
      </p:sp>
      <p:sp>
        <p:nvSpPr>
          <p:cNvPr id="9" name="Title 1"/>
          <p:cNvSpPr>
            <a:spLocks noGrp="1"/>
          </p:cNvSpPr>
          <p:nvPr>
            <p:ph type="title"/>
          </p:nvPr>
        </p:nvSpPr>
        <p:spPr>
          <a:xfrm>
            <a:off x="217715" y="201706"/>
            <a:ext cx="7402286"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374252003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DE3D7-78D6-4FE3-95FE-A3BB603B58D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DF85142-3C21-4D4D-9A16-069016B87373}"/>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630474B-3131-4640-8CB7-BCCC47FBB379}"/>
              </a:ext>
            </a:extLst>
          </p:cNvPr>
          <p:cNvSpPr>
            <a:spLocks noGrp="1"/>
          </p:cNvSpPr>
          <p:nvPr>
            <p:ph type="dt" sz="half" idx="10"/>
          </p:nvPr>
        </p:nvSpPr>
        <p:spPr/>
        <p:txBody>
          <a:bodyPr/>
          <a:lstStyle/>
          <a:p>
            <a:fld id="{660A8CD3-281B-4F63-8229-9E70103E2367}" type="datetimeFigureOut">
              <a:rPr lang="en-US" smtClean="0"/>
              <a:t>11/3/2022</a:t>
            </a:fld>
            <a:endParaRPr lang="en-US"/>
          </a:p>
        </p:txBody>
      </p:sp>
      <p:sp>
        <p:nvSpPr>
          <p:cNvPr id="5" name="Footer Placeholder 4">
            <a:extLst>
              <a:ext uri="{FF2B5EF4-FFF2-40B4-BE49-F238E27FC236}">
                <a16:creationId xmlns:a16="http://schemas.microsoft.com/office/drawing/2014/main" id="{B01AC60D-5A18-40CD-AE4C-3F19314483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8849C0-FE26-44AF-93B8-1C39A2995CF6}"/>
              </a:ext>
            </a:extLst>
          </p:cNvPr>
          <p:cNvSpPr>
            <a:spLocks noGrp="1"/>
          </p:cNvSpPr>
          <p:nvPr>
            <p:ph type="sldNum" sz="quarter" idx="12"/>
          </p:nvPr>
        </p:nvSpPr>
        <p:spPr/>
        <p:txBody>
          <a:bodyPr/>
          <a:lstStyle/>
          <a:p>
            <a:fld id="{39CB431F-59E1-418E-BD58-7E30342BC891}" type="slidenum">
              <a:rPr lang="en-US" smtClean="0"/>
              <a:t>‹#›</a:t>
            </a:fld>
            <a:endParaRPr lang="en-US"/>
          </a:p>
        </p:txBody>
      </p:sp>
    </p:spTree>
    <p:extLst>
      <p:ext uri="{BB962C8B-B14F-4D97-AF65-F5344CB8AC3E}">
        <p14:creationId xmlns:p14="http://schemas.microsoft.com/office/powerpoint/2010/main" val="3680552296"/>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defRPr lang="en-US" smtClean="0"/>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359749529"/>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97568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886118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6304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CD44A-372F-4294-9348-19CAC91711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0930E8-8E7E-4291-82F3-084F92CDB87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8A979E8-A5BE-41B2-B36D-CFCDD846BC1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993C060-6633-4FEC-8F34-26E940468982}"/>
              </a:ext>
            </a:extLst>
          </p:cNvPr>
          <p:cNvSpPr>
            <a:spLocks noGrp="1"/>
          </p:cNvSpPr>
          <p:nvPr>
            <p:ph type="dt" sz="half" idx="10"/>
          </p:nvPr>
        </p:nvSpPr>
        <p:spPr/>
        <p:txBody>
          <a:bodyPr/>
          <a:lstStyle/>
          <a:p>
            <a:fld id="{F83D5C8B-43F5-415C-9ED4-ABEDEEB22315}" type="datetimeFigureOut">
              <a:rPr lang="en-US" smtClean="0"/>
              <a:t>11/3/2022</a:t>
            </a:fld>
            <a:endParaRPr lang="en-US"/>
          </a:p>
        </p:txBody>
      </p:sp>
      <p:sp>
        <p:nvSpPr>
          <p:cNvPr id="6" name="Footer Placeholder 5">
            <a:extLst>
              <a:ext uri="{FF2B5EF4-FFF2-40B4-BE49-F238E27FC236}">
                <a16:creationId xmlns:a16="http://schemas.microsoft.com/office/drawing/2014/main" id="{7AF0B751-7FB1-40F6-981F-F6B26EFAD8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B12FA94-912D-4B2F-8980-7E8E8144EFF6}"/>
              </a:ext>
            </a:extLst>
          </p:cNvPr>
          <p:cNvSpPr>
            <a:spLocks noGrp="1"/>
          </p:cNvSpPr>
          <p:nvPr>
            <p:ph type="sldNum" sz="quarter" idx="12"/>
          </p:nvPr>
        </p:nvSpPr>
        <p:spPr/>
        <p:txBody>
          <a:bodyPr/>
          <a:lstStyle/>
          <a:p>
            <a:fld id="{8A95A4C9-F97B-49B0-87AC-189800B58A8C}" type="slidenum">
              <a:rPr lang="en-US" smtClean="0"/>
              <a:t>‹#›</a:t>
            </a:fld>
            <a:endParaRPr lang="en-US"/>
          </a:p>
        </p:txBody>
      </p:sp>
    </p:spTree>
    <p:extLst>
      <p:ext uri="{BB962C8B-B14F-4D97-AF65-F5344CB8AC3E}">
        <p14:creationId xmlns:p14="http://schemas.microsoft.com/office/powerpoint/2010/main" val="1210654355"/>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7975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585788"/>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88347555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4068562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26264462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000000">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1438465689"/>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199977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844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1453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73905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1841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93064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6877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36269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537402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73811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287572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23774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901775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945761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866229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578400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157477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15305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4597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745106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11251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64585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97578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8496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419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2322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15817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77573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86641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3567837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1/3/2022</a:t>
            </a:fld>
            <a:endParaRPr lang="en-US"/>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a:p>
        </p:txBody>
      </p:sp>
    </p:spTree>
    <p:extLst>
      <p:ext uri="{BB962C8B-B14F-4D97-AF65-F5344CB8AC3E}">
        <p14:creationId xmlns:p14="http://schemas.microsoft.com/office/powerpoint/2010/main" val="1594989868"/>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408368199"/>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654102621"/>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92552244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971001698"/>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436187978"/>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797308187"/>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768174159"/>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2507314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684304851"/>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556760218"/>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59103792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177384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693543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2741337551"/>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6113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endParaRPr lang="en-US"/>
          </a:p>
        </p:txBody>
      </p:sp>
    </p:spTree>
    <p:extLst>
      <p:ext uri="{BB962C8B-B14F-4D97-AF65-F5344CB8AC3E}">
        <p14:creationId xmlns:p14="http://schemas.microsoft.com/office/powerpoint/2010/main" val="2295452713"/>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Microsoft Docs Slide">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15F1B631-BB65-49F7-8147-1D8D8ECED98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0C45E7BE-3A8B-48F0-8322-81249B4EBD7E}"/>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09A7C342-A96B-434F-BDD1-FA441BEDA29E}"/>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F823198D-FC47-490F-8433-6D66E37F4CEF}"/>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1194522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94627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86981511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03348289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381186700"/>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007246518"/>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5959972"/>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940657525"/>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61227432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601866864"/>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857480064"/>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8244905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718514877"/>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700384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337006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2121511249"/>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93156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endParaRPr lang="en-US"/>
          </a:p>
        </p:txBody>
      </p:sp>
    </p:spTree>
    <p:extLst>
      <p:ext uri="{BB962C8B-B14F-4D97-AF65-F5344CB8AC3E}">
        <p14:creationId xmlns:p14="http://schemas.microsoft.com/office/powerpoint/2010/main" val="222028143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Microsoft Docs Slide">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15F1B631-BB65-49F7-8147-1D8D8ECED98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0C45E7BE-3A8B-48F0-8322-81249B4EBD7E}"/>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09A7C342-A96B-434F-BDD1-FA441BEDA29E}"/>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F823198D-FC47-490F-8433-6D66E37F4CEF}"/>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16567226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1/3/20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slideLayout" Target="../slideLayouts/slideLayout564.xml"/><Relationship Id="rId39" Type="http://schemas.openxmlformats.org/officeDocument/2006/relationships/slideLayout" Target="../slideLayouts/slideLayout577.xml"/><Relationship Id="rId21" Type="http://schemas.openxmlformats.org/officeDocument/2006/relationships/slideLayout" Target="../slideLayouts/slideLayout559.xml"/><Relationship Id="rId34" Type="http://schemas.openxmlformats.org/officeDocument/2006/relationships/slideLayout" Target="../slideLayouts/slideLayout572.xml"/><Relationship Id="rId42" Type="http://schemas.openxmlformats.org/officeDocument/2006/relationships/slideLayout" Target="../slideLayouts/slideLayout580.xml"/><Relationship Id="rId7" Type="http://schemas.openxmlformats.org/officeDocument/2006/relationships/slideLayout" Target="../slideLayouts/slideLayout545.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29" Type="http://schemas.openxmlformats.org/officeDocument/2006/relationships/slideLayout" Target="../slideLayouts/slideLayout567.xml"/><Relationship Id="rId41" Type="http://schemas.openxmlformats.org/officeDocument/2006/relationships/slideLayout" Target="../slideLayouts/slideLayout579.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32" Type="http://schemas.openxmlformats.org/officeDocument/2006/relationships/slideLayout" Target="../slideLayouts/slideLayout570.xml"/><Relationship Id="rId37" Type="http://schemas.openxmlformats.org/officeDocument/2006/relationships/slideLayout" Target="../slideLayouts/slideLayout575.xml"/><Relationship Id="rId40" Type="http://schemas.openxmlformats.org/officeDocument/2006/relationships/slideLayout" Target="../slideLayouts/slideLayout578.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28" Type="http://schemas.openxmlformats.org/officeDocument/2006/relationships/slideLayout" Target="../slideLayouts/slideLayout566.xml"/><Relationship Id="rId36" Type="http://schemas.openxmlformats.org/officeDocument/2006/relationships/slideLayout" Target="../slideLayouts/slideLayout574.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31" Type="http://schemas.openxmlformats.org/officeDocument/2006/relationships/slideLayout" Target="../slideLayouts/slideLayout569.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slideLayout" Target="../slideLayouts/slideLayout565.xml"/><Relationship Id="rId30" Type="http://schemas.openxmlformats.org/officeDocument/2006/relationships/slideLayout" Target="../slideLayouts/slideLayout568.xml"/><Relationship Id="rId35" Type="http://schemas.openxmlformats.org/officeDocument/2006/relationships/slideLayout" Target="../slideLayouts/slideLayout573.xml"/><Relationship Id="rId43" Type="http://schemas.openxmlformats.org/officeDocument/2006/relationships/theme" Target="../theme/theme16.xml"/><Relationship Id="rId8" Type="http://schemas.openxmlformats.org/officeDocument/2006/relationships/slideLayout" Target="../slideLayouts/slideLayout546.xml"/><Relationship Id="rId3" Type="http://schemas.openxmlformats.org/officeDocument/2006/relationships/slideLayout" Target="../slideLayouts/slideLayout541.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33" Type="http://schemas.openxmlformats.org/officeDocument/2006/relationships/slideLayout" Target="../slideLayouts/slideLayout571.xml"/><Relationship Id="rId38" Type="http://schemas.openxmlformats.org/officeDocument/2006/relationships/slideLayout" Target="../slideLayouts/slideLayout57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593.xml"/><Relationship Id="rId18" Type="http://schemas.openxmlformats.org/officeDocument/2006/relationships/slideLayout" Target="../slideLayouts/slideLayout598.xml"/><Relationship Id="rId26" Type="http://schemas.openxmlformats.org/officeDocument/2006/relationships/slideLayout" Target="../slideLayouts/slideLayout606.xml"/><Relationship Id="rId3" Type="http://schemas.openxmlformats.org/officeDocument/2006/relationships/slideLayout" Target="../slideLayouts/slideLayout583.xml"/><Relationship Id="rId21" Type="http://schemas.openxmlformats.org/officeDocument/2006/relationships/slideLayout" Target="../slideLayouts/slideLayout601.xml"/><Relationship Id="rId7" Type="http://schemas.openxmlformats.org/officeDocument/2006/relationships/slideLayout" Target="../slideLayouts/slideLayout587.xml"/><Relationship Id="rId12" Type="http://schemas.openxmlformats.org/officeDocument/2006/relationships/slideLayout" Target="../slideLayouts/slideLayout592.xml"/><Relationship Id="rId17" Type="http://schemas.openxmlformats.org/officeDocument/2006/relationships/slideLayout" Target="../slideLayouts/slideLayout597.xml"/><Relationship Id="rId25" Type="http://schemas.openxmlformats.org/officeDocument/2006/relationships/slideLayout" Target="../slideLayouts/slideLayout605.xml"/><Relationship Id="rId33" Type="http://schemas.openxmlformats.org/officeDocument/2006/relationships/image" Target="../media/image92.emf"/><Relationship Id="rId2" Type="http://schemas.openxmlformats.org/officeDocument/2006/relationships/slideLayout" Target="../slideLayouts/slideLayout582.xml"/><Relationship Id="rId16" Type="http://schemas.openxmlformats.org/officeDocument/2006/relationships/slideLayout" Target="../slideLayouts/slideLayout596.xml"/><Relationship Id="rId20" Type="http://schemas.openxmlformats.org/officeDocument/2006/relationships/slideLayout" Target="../slideLayouts/slideLayout600.xml"/><Relationship Id="rId29" Type="http://schemas.openxmlformats.org/officeDocument/2006/relationships/slideLayout" Target="../slideLayouts/slideLayout609.xml"/><Relationship Id="rId1" Type="http://schemas.openxmlformats.org/officeDocument/2006/relationships/slideLayout" Target="../slideLayouts/slideLayout581.xml"/><Relationship Id="rId6" Type="http://schemas.openxmlformats.org/officeDocument/2006/relationships/slideLayout" Target="../slideLayouts/slideLayout586.xml"/><Relationship Id="rId11" Type="http://schemas.openxmlformats.org/officeDocument/2006/relationships/slideLayout" Target="../slideLayouts/slideLayout591.xml"/><Relationship Id="rId24" Type="http://schemas.openxmlformats.org/officeDocument/2006/relationships/slideLayout" Target="../slideLayouts/slideLayout604.xml"/><Relationship Id="rId32" Type="http://schemas.openxmlformats.org/officeDocument/2006/relationships/theme" Target="../theme/theme17.xml"/><Relationship Id="rId5" Type="http://schemas.openxmlformats.org/officeDocument/2006/relationships/slideLayout" Target="../slideLayouts/slideLayout585.xml"/><Relationship Id="rId15" Type="http://schemas.openxmlformats.org/officeDocument/2006/relationships/slideLayout" Target="../slideLayouts/slideLayout595.xml"/><Relationship Id="rId23" Type="http://schemas.openxmlformats.org/officeDocument/2006/relationships/slideLayout" Target="../slideLayouts/slideLayout603.xml"/><Relationship Id="rId28" Type="http://schemas.openxmlformats.org/officeDocument/2006/relationships/slideLayout" Target="../slideLayouts/slideLayout608.xml"/><Relationship Id="rId10" Type="http://schemas.openxmlformats.org/officeDocument/2006/relationships/slideLayout" Target="../slideLayouts/slideLayout590.xml"/><Relationship Id="rId19" Type="http://schemas.openxmlformats.org/officeDocument/2006/relationships/slideLayout" Target="../slideLayouts/slideLayout599.xml"/><Relationship Id="rId31" Type="http://schemas.openxmlformats.org/officeDocument/2006/relationships/slideLayout" Target="../slideLayouts/slideLayout611.xml"/><Relationship Id="rId4" Type="http://schemas.openxmlformats.org/officeDocument/2006/relationships/slideLayout" Target="../slideLayouts/slideLayout584.xml"/><Relationship Id="rId9" Type="http://schemas.openxmlformats.org/officeDocument/2006/relationships/slideLayout" Target="../slideLayouts/slideLayout589.xml"/><Relationship Id="rId14" Type="http://schemas.openxmlformats.org/officeDocument/2006/relationships/slideLayout" Target="../slideLayouts/slideLayout594.xml"/><Relationship Id="rId22" Type="http://schemas.openxmlformats.org/officeDocument/2006/relationships/slideLayout" Target="../slideLayouts/slideLayout602.xml"/><Relationship Id="rId27" Type="http://schemas.openxmlformats.org/officeDocument/2006/relationships/slideLayout" Target="../slideLayouts/slideLayout607.xml"/><Relationship Id="rId30" Type="http://schemas.openxmlformats.org/officeDocument/2006/relationships/slideLayout" Target="../slideLayouts/slideLayout610.xml"/><Relationship Id="rId8" Type="http://schemas.openxmlformats.org/officeDocument/2006/relationships/slideLayout" Target="../slideLayouts/slideLayout58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619.xml"/><Relationship Id="rId13" Type="http://schemas.openxmlformats.org/officeDocument/2006/relationships/slideLayout" Target="../slideLayouts/slideLayout624.xml"/><Relationship Id="rId18" Type="http://schemas.openxmlformats.org/officeDocument/2006/relationships/slideLayout" Target="../slideLayouts/slideLayout629.xml"/><Relationship Id="rId3" Type="http://schemas.openxmlformats.org/officeDocument/2006/relationships/slideLayout" Target="../slideLayouts/slideLayout614.xml"/><Relationship Id="rId7" Type="http://schemas.openxmlformats.org/officeDocument/2006/relationships/slideLayout" Target="../slideLayouts/slideLayout618.xml"/><Relationship Id="rId12" Type="http://schemas.openxmlformats.org/officeDocument/2006/relationships/slideLayout" Target="../slideLayouts/slideLayout623.xml"/><Relationship Id="rId17" Type="http://schemas.openxmlformats.org/officeDocument/2006/relationships/slideLayout" Target="../slideLayouts/slideLayout628.xml"/><Relationship Id="rId2" Type="http://schemas.openxmlformats.org/officeDocument/2006/relationships/slideLayout" Target="../slideLayouts/slideLayout613.xml"/><Relationship Id="rId16" Type="http://schemas.openxmlformats.org/officeDocument/2006/relationships/slideLayout" Target="../slideLayouts/slideLayout627.xml"/><Relationship Id="rId1" Type="http://schemas.openxmlformats.org/officeDocument/2006/relationships/slideLayout" Target="../slideLayouts/slideLayout612.xml"/><Relationship Id="rId6" Type="http://schemas.openxmlformats.org/officeDocument/2006/relationships/slideLayout" Target="../slideLayouts/slideLayout617.xml"/><Relationship Id="rId11" Type="http://schemas.openxmlformats.org/officeDocument/2006/relationships/slideLayout" Target="../slideLayouts/slideLayout622.xml"/><Relationship Id="rId5" Type="http://schemas.openxmlformats.org/officeDocument/2006/relationships/slideLayout" Target="../slideLayouts/slideLayout616.xml"/><Relationship Id="rId15" Type="http://schemas.openxmlformats.org/officeDocument/2006/relationships/slideLayout" Target="../slideLayouts/slideLayout626.xml"/><Relationship Id="rId10" Type="http://schemas.openxmlformats.org/officeDocument/2006/relationships/slideLayout" Target="../slideLayouts/slideLayout621.xml"/><Relationship Id="rId19" Type="http://schemas.openxmlformats.org/officeDocument/2006/relationships/theme" Target="../theme/theme18.xml"/><Relationship Id="rId4" Type="http://schemas.openxmlformats.org/officeDocument/2006/relationships/slideLayout" Target="../slideLayouts/slideLayout615.xml"/><Relationship Id="rId9" Type="http://schemas.openxmlformats.org/officeDocument/2006/relationships/slideLayout" Target="../slideLayouts/slideLayout620.xml"/><Relationship Id="rId14" Type="http://schemas.openxmlformats.org/officeDocument/2006/relationships/slideLayout" Target="../slideLayouts/slideLayout62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637.xml"/><Relationship Id="rId13" Type="http://schemas.openxmlformats.org/officeDocument/2006/relationships/slideLayout" Target="../slideLayouts/slideLayout642.xml"/><Relationship Id="rId18" Type="http://schemas.openxmlformats.org/officeDocument/2006/relationships/theme" Target="../theme/theme19.xml"/><Relationship Id="rId3" Type="http://schemas.openxmlformats.org/officeDocument/2006/relationships/slideLayout" Target="../slideLayouts/slideLayout632.xml"/><Relationship Id="rId7" Type="http://schemas.openxmlformats.org/officeDocument/2006/relationships/slideLayout" Target="../slideLayouts/slideLayout636.xml"/><Relationship Id="rId12" Type="http://schemas.openxmlformats.org/officeDocument/2006/relationships/slideLayout" Target="../slideLayouts/slideLayout641.xml"/><Relationship Id="rId17" Type="http://schemas.openxmlformats.org/officeDocument/2006/relationships/slideLayout" Target="../slideLayouts/slideLayout646.xml"/><Relationship Id="rId2" Type="http://schemas.openxmlformats.org/officeDocument/2006/relationships/slideLayout" Target="../slideLayouts/slideLayout631.xml"/><Relationship Id="rId16" Type="http://schemas.openxmlformats.org/officeDocument/2006/relationships/slideLayout" Target="../slideLayouts/slideLayout645.xml"/><Relationship Id="rId1" Type="http://schemas.openxmlformats.org/officeDocument/2006/relationships/slideLayout" Target="../slideLayouts/slideLayout630.xml"/><Relationship Id="rId6" Type="http://schemas.openxmlformats.org/officeDocument/2006/relationships/slideLayout" Target="../slideLayouts/slideLayout635.xml"/><Relationship Id="rId11" Type="http://schemas.openxmlformats.org/officeDocument/2006/relationships/slideLayout" Target="../slideLayouts/slideLayout640.xml"/><Relationship Id="rId5" Type="http://schemas.openxmlformats.org/officeDocument/2006/relationships/slideLayout" Target="../slideLayouts/slideLayout634.xml"/><Relationship Id="rId15" Type="http://schemas.openxmlformats.org/officeDocument/2006/relationships/slideLayout" Target="../slideLayouts/slideLayout644.xml"/><Relationship Id="rId10" Type="http://schemas.openxmlformats.org/officeDocument/2006/relationships/slideLayout" Target="../slideLayouts/slideLayout639.xml"/><Relationship Id="rId4" Type="http://schemas.openxmlformats.org/officeDocument/2006/relationships/slideLayout" Target="../slideLayouts/slideLayout633.xml"/><Relationship Id="rId9" Type="http://schemas.openxmlformats.org/officeDocument/2006/relationships/slideLayout" Target="../slideLayouts/slideLayout638.xml"/><Relationship Id="rId14" Type="http://schemas.openxmlformats.org/officeDocument/2006/relationships/slideLayout" Target="../slideLayouts/slideLayout6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7410617"/>
      </p:ext>
    </p:extLst>
  </p:cSld>
  <p:clrMap bg1="dk1" tx1="lt1" bg2="dk2" tx2="lt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 id="2147484347" r:id="rId14"/>
    <p:sldLayoutId id="2147484348" r:id="rId15"/>
    <p:sldLayoutId id="2147484349" r:id="rId16"/>
    <p:sldLayoutId id="2147484350" r:id="rId17"/>
    <p:sldLayoutId id="2147484351" r:id="rId18"/>
    <p:sldLayoutId id="2147484352" r:id="rId19"/>
    <p:sldLayoutId id="2147484353" r:id="rId20"/>
    <p:sldLayoutId id="2147484354" r:id="rId21"/>
    <p:sldLayoutId id="2147484355" r:id="rId22"/>
    <p:sldLayoutId id="2147484356" r:id="rId23"/>
    <p:sldLayoutId id="2147484357" r:id="rId24"/>
    <p:sldLayoutId id="2147484358" r:id="rId25"/>
    <p:sldLayoutId id="2147484359" r:id="rId26"/>
    <p:sldLayoutId id="2147484360" r:id="rId27"/>
    <p:sldLayoutId id="2147484361" r:id="rId28"/>
    <p:sldLayoutId id="2147484362" r:id="rId29"/>
    <p:sldLayoutId id="2147484363" r:id="rId30"/>
    <p:sldLayoutId id="2147484364" r:id="rId31"/>
    <p:sldLayoutId id="2147484365" r:id="rId32"/>
    <p:sldLayoutId id="2147484366" r:id="rId33"/>
    <p:sldLayoutId id="2147484367" r:id="rId34"/>
    <p:sldLayoutId id="2147484368" r:id="rId35"/>
    <p:sldLayoutId id="2147484369" r:id="rId36"/>
    <p:sldLayoutId id="2147484370" r:id="rId37"/>
    <p:sldLayoutId id="2147484371" r:id="rId38"/>
    <p:sldLayoutId id="2147484372" r:id="rId39"/>
    <p:sldLayoutId id="2147484373" r:id="rId40"/>
    <p:sldLayoutId id="2147484374" r:id="rId41"/>
    <p:sldLayoutId id="2147484375"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42389866"/>
      </p:ext>
    </p:extLst>
  </p:cSld>
  <p:clrMap bg1="dk1" tx1="lt1" bg2="dk2" tx2="lt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 id="2147484389" r:id="rId13"/>
    <p:sldLayoutId id="2147484390" r:id="rId14"/>
    <p:sldLayoutId id="2147484391" r:id="rId15"/>
    <p:sldLayoutId id="2147484392" r:id="rId16"/>
    <p:sldLayoutId id="2147484393" r:id="rId17"/>
    <p:sldLayoutId id="2147484394" r:id="rId18"/>
    <p:sldLayoutId id="2147484395" r:id="rId19"/>
    <p:sldLayoutId id="2147484396" r:id="rId20"/>
    <p:sldLayoutId id="2147484397" r:id="rId21"/>
    <p:sldLayoutId id="2147484398" r:id="rId22"/>
    <p:sldLayoutId id="2147484399" r:id="rId23"/>
    <p:sldLayoutId id="2147484400" r:id="rId24"/>
    <p:sldLayoutId id="2147484401" r:id="rId25"/>
    <p:sldLayoutId id="2147484402" r:id="rId26"/>
    <p:sldLayoutId id="2147484403" r:id="rId27"/>
    <p:sldLayoutId id="2147484404" r:id="rId28"/>
    <p:sldLayoutId id="2147484405" r:id="rId29"/>
    <p:sldLayoutId id="2147484406" r:id="rId30"/>
    <p:sldLayoutId id="2147484407"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505655459"/>
      </p:ext>
    </p:extLst>
  </p:cSld>
  <p:clrMap bg1="lt1" tx1="dk1" bg2="lt2" tx2="dk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4" r:id="rId6"/>
    <p:sldLayoutId id="2147484415" r:id="rId7"/>
    <p:sldLayoutId id="2147484416" r:id="rId8"/>
    <p:sldLayoutId id="2147484417" r:id="rId9"/>
    <p:sldLayoutId id="2147484418" r:id="rId10"/>
    <p:sldLayoutId id="2147484419" r:id="rId11"/>
    <p:sldLayoutId id="2147484420" r:id="rId12"/>
    <p:sldLayoutId id="2147484421" r:id="rId13"/>
    <p:sldLayoutId id="2147484422" r:id="rId14"/>
    <p:sldLayoutId id="2147484423" r:id="rId15"/>
    <p:sldLayoutId id="2147484424" r:id="rId16"/>
    <p:sldLayoutId id="2147484425" r:id="rId17"/>
    <p:sldLayoutId id="2147484426" r:id="rId18"/>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554400090"/>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 id="2147484434" r:id="rId7"/>
    <p:sldLayoutId id="2147484435" r:id="rId8"/>
    <p:sldLayoutId id="2147484436" r:id="rId9"/>
    <p:sldLayoutId id="2147484437" r:id="rId10"/>
    <p:sldLayoutId id="2147484438" r:id="rId11"/>
    <p:sldLayoutId id="2147484439" r:id="rId12"/>
    <p:sldLayoutId id="2147484440" r:id="rId13"/>
    <p:sldLayoutId id="2147484441" r:id="rId14"/>
    <p:sldLayoutId id="2147484442" r:id="rId15"/>
    <p:sldLayoutId id="2147484443" r:id="rId16"/>
    <p:sldLayoutId id="2147484444" r:id="rId17"/>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7.svg"/></Relationships>
</file>

<file path=ppt/slides/_rels/slide1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xml"/><Relationship Id="rId1" Type="http://schemas.openxmlformats.org/officeDocument/2006/relationships/slideLayout" Target="../slideLayouts/slideLayout508.xml"/></Relationships>
</file>

<file path=ppt/slides/_rels/slide1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1.xml"/><Relationship Id="rId1" Type="http://schemas.openxmlformats.org/officeDocument/2006/relationships/slideLayout" Target="../slideLayouts/slideLayout4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2.xml"/><Relationship Id="rId1" Type="http://schemas.openxmlformats.org/officeDocument/2006/relationships/slideLayout" Target="../slideLayouts/slideLayout416.xml"/><Relationship Id="rId4" Type="http://schemas.openxmlformats.org/officeDocument/2006/relationships/image" Target="../media/image140.png"/></Relationships>
</file>

<file path=ppt/slides/_rels/slide1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image" Target="../media/image123.png"/></Relationships>
</file>

<file path=ppt/slides/_rels/slide14.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4.xml"/><Relationship Id="rId1" Type="http://schemas.openxmlformats.org/officeDocument/2006/relationships/slideLayout" Target="../slideLayouts/slideLayout41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image" Target="../media/image144.jpeg"/><Relationship Id="rId4" Type="http://schemas.openxmlformats.org/officeDocument/2006/relationships/image" Target="../media/image143.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5.svg"/><Relationship Id="rId4" Type="http://schemas.openxmlformats.org/officeDocument/2006/relationships/image" Target="../media/image134.png"/></Relationships>
</file>

<file path=ppt/slides/_rels/slide1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7.png"/><Relationship Id="rId4" Type="http://schemas.openxmlformats.org/officeDocument/2006/relationships/image" Target="../media/image146.svg"/></Relationships>
</file>

<file path=ppt/slides/_rels/slide1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9.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49.svg"/></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153.png"/><Relationship Id="rId4" Type="http://schemas.openxmlformats.org/officeDocument/2006/relationships/image" Target="../media/image152.svg"/></Relationships>
</file>

<file path=ppt/slides/_rels/slide2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1.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54.svg"/></Relationships>
</file>

<file path=ppt/slides/_rels/slide2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2.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56.svg"/></Relationships>
</file>

<file path=ppt/slides/_rels/slide2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3.xml"/><Relationship Id="rId1" Type="http://schemas.openxmlformats.org/officeDocument/2006/relationships/slideLayout" Target="../slideLayouts/slideLayout41.xml"/><Relationship Id="rId5" Type="http://schemas.openxmlformats.org/officeDocument/2006/relationships/image" Target="../media/image159.png"/><Relationship Id="rId4" Type="http://schemas.openxmlformats.org/officeDocument/2006/relationships/image" Target="../media/image158.svg"/></Relationships>
</file>

<file path=ppt/slides/_rels/slide24.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25.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5.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61.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8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24.xml"/><Relationship Id="rId1" Type="http://schemas.openxmlformats.org/officeDocument/2006/relationships/tags" Target="../tags/tag18.xml"/><Relationship Id="rId5" Type="http://schemas.openxmlformats.org/officeDocument/2006/relationships/hyperlink" Target="https://aka.ms/wellarchitecture/framework" TargetMode="External"/><Relationship Id="rId4" Type="http://schemas.openxmlformats.org/officeDocument/2006/relationships/image" Target="../media/image16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42.xml"/><Relationship Id="rId1" Type="http://schemas.openxmlformats.org/officeDocument/2006/relationships/tags" Target="../tags/tag19.xml"/><Relationship Id="rId5" Type="http://schemas.openxmlformats.org/officeDocument/2006/relationships/hyperlink" Target="https://aka.ms/wellarchitected/framework" TargetMode="External"/><Relationship Id="rId4" Type="http://schemas.openxmlformats.org/officeDocument/2006/relationships/image" Target="../media/image16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4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4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4.xml"/></Relationships>
</file>

<file path=ppt/slides/_rels/slide34.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3.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20.png"/><Relationship Id="rId4" Type="http://schemas.openxmlformats.org/officeDocument/2006/relationships/image" Target="../media/image11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5" Type="http://schemas.openxmlformats.org/officeDocument/2006/relationships/image" Target="../media/image122.jpeg"/><Relationship Id="rId4" Type="http://schemas.openxmlformats.org/officeDocument/2006/relationships/image" Target="../media/image121.jpeg"/></Relationships>
</file>

<file path=ppt/slides/_rels/slide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3.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7.svg"/><Relationship Id="rId11" Type="http://schemas.openxmlformats.org/officeDocument/2006/relationships/image" Target="../media/image132.png"/><Relationship Id="rId5" Type="http://schemas.openxmlformats.org/officeDocument/2006/relationships/image" Target="../media/image126.png"/><Relationship Id="rId10" Type="http://schemas.openxmlformats.org/officeDocument/2006/relationships/image" Target="../media/image131.svg"/><Relationship Id="rId4" Type="http://schemas.openxmlformats.org/officeDocument/2006/relationships/image" Target="../media/image125.svg"/><Relationship Id="rId9" Type="http://schemas.openxmlformats.org/officeDocument/2006/relationships/image" Target="../media/image13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5.svg"/><Relationship Id="rId4" Type="http://schemas.openxmlformats.org/officeDocument/2006/relationships/image" Target="../media/image134.png"/></Relationships>
</file>

<file path=ppt/slides/_rels/slide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Nov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Azure Landing Zones</a:t>
            </a:r>
            <a:br>
              <a:rPr lang="en-US" altLang="ja-JP" sz="3600" b="1" dirty="0">
                <a:solidFill>
                  <a:srgbClr val="FFFFFF"/>
                </a:solidFill>
                <a:latin typeface="Segoe Semibold" panose="020B0502040504020203" pitchFamily="34" charset="0"/>
              </a:rPr>
            </a:br>
            <a:r>
              <a:rPr lang="en-US" sz="3200" dirty="0">
                <a:solidFill>
                  <a:schemeClr val="accent5"/>
                </a:solidFill>
                <a:latin typeface="+mn-lt"/>
                <a:cs typeface="Segoe UI"/>
              </a:rPr>
              <a:t>Architecting for Succes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Trey Research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40065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an be scaled-out and mature i</a:t>
            </a:r>
            <a:r>
              <a:rPr lang="en-US" sz="1800" dirty="0"/>
              <a:t>f the business requirements change over time</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3" name="Picture 4" descr="Trey Research">
            <a:extLst>
              <a:ext uri="{FF2B5EF4-FFF2-40B4-BE49-F238E27FC236}">
                <a16:creationId xmlns:a16="http://schemas.microsoft.com/office/drawing/2014/main" id="{B3F6D9FD-2301-1797-8BE6-70C9799409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3184" y="1640762"/>
            <a:ext cx="6746591" cy="4468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0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4389"/>
            <a:ext cx="6584827" cy="3681281"/>
          </a:xfrm>
          <a:prstGeom prst="rect">
            <a:avLst/>
          </a:prstGeom>
        </p:spPr>
      </p:pic>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5" name="Title 1">
            <a:extLst>
              <a:ext uri="{FF2B5EF4-FFF2-40B4-BE49-F238E27FC236}">
                <a16:creationId xmlns:a16="http://schemas.microsoft.com/office/drawing/2014/main" id="{23114C02-F63C-6C6D-7D70-E3F359888266}"/>
              </a:ext>
            </a:extLst>
          </p:cNvPr>
          <p:cNvSpPr>
            <a:spLocks noGrp="1"/>
          </p:cNvSpPr>
          <p:nvPr>
            <p:ph type="title"/>
          </p:nvPr>
        </p:nvSpPr>
        <p:spPr>
          <a:xfrm>
            <a:off x="283918" y="22327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Bicep Reference Implementation</a:t>
            </a:r>
            <a:endParaRPr lang="en-US" sz="3600" dirty="0"/>
          </a:p>
        </p:txBody>
      </p:sp>
    </p:spTree>
    <p:extLst>
      <p:ext uri="{BB962C8B-B14F-4D97-AF65-F5344CB8AC3E}">
        <p14:creationId xmlns:p14="http://schemas.microsoft.com/office/powerpoint/2010/main" val="42255859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402674"/>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dirty="0">
                <a:ln w="3175">
                  <a:noFill/>
                </a:ln>
                <a:solidFill>
                  <a:srgbClr val="000000"/>
                </a:solidFill>
                <a:effectLst/>
                <a:uLnTx/>
                <a:uFillTx/>
                <a:latin typeface="Segoe UI Semibold"/>
                <a:ea typeface="+mn-ea"/>
                <a:cs typeface="Segoe UI" pitchFamily="34" charset="0"/>
              </a:rPr>
              <a:t>ISV considerations for Azure landing zones</a:t>
            </a:r>
          </a:p>
        </p:txBody>
      </p:sp>
      <p:pic>
        <p:nvPicPr>
          <p:cNvPr id="8" name="Picture 4" descr="Diagram that shows landing zone hierarchy without environment-specific management groups.">
            <a:extLst>
              <a:ext uri="{FF2B5EF4-FFF2-40B4-BE49-F238E27FC236}">
                <a16:creationId xmlns:a16="http://schemas.microsoft.com/office/drawing/2014/main" id="{121AAD05-6B18-DB21-0724-16AD3F4D3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2646" y="1448752"/>
            <a:ext cx="5943600"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Diagram that shows two management group hierarchies. Option A shows separate platform management groups for management, connectivity, and identity. Option B includes a platform management group option with a single management group.">
            <a:extLst>
              <a:ext uri="{FF2B5EF4-FFF2-40B4-BE49-F238E27FC236}">
                <a16:creationId xmlns:a16="http://schemas.microsoft.com/office/drawing/2014/main" id="{30525857-6DA8-23D5-87B5-AB97829AB9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661" y="1057275"/>
            <a:ext cx="6096000"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13900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64119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31E5D12-1FD8-4FA8-8843-358A19991808}"/>
              </a:ext>
            </a:extLst>
          </p:cNvPr>
          <p:cNvSpPr/>
          <p:nvPr/>
        </p:nvSpPr>
        <p:spPr bwMode="auto">
          <a:xfrm>
            <a:off x="7848221" y="3429000"/>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55766BC6-B11A-4725-9504-889AFB399A36}"/>
              </a:ext>
            </a:extLst>
          </p:cNvPr>
          <p:cNvSpPr/>
          <p:nvPr/>
        </p:nvSpPr>
        <p:spPr bwMode="auto">
          <a:xfrm>
            <a:off x="4858877"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DE20EA37-54AE-48F1-9EEC-E5993260712D}"/>
              </a:ext>
            </a:extLst>
          </p:cNvPr>
          <p:cNvSpPr/>
          <p:nvPr/>
        </p:nvSpPr>
        <p:spPr bwMode="auto">
          <a:xfrm>
            <a:off x="1869533"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4775D08-E1AA-48DA-8012-08133ECEC173}"/>
              </a:ext>
            </a:extLst>
          </p:cNvPr>
          <p:cNvSpPr>
            <a:spLocks noGrp="1"/>
          </p:cNvSpPr>
          <p:nvPr>
            <p:ph type="title"/>
          </p:nvPr>
        </p:nvSpPr>
        <p:spPr>
          <a:xfrm>
            <a:off x="455995" y="620428"/>
            <a:ext cx="11306469" cy="403137"/>
          </a:xfrm>
        </p:spPr>
        <p:txBody>
          <a:bodyPr/>
          <a:lstStyle/>
          <a:p>
            <a:r>
              <a:rPr lang="en-GB" sz="3600" dirty="0"/>
              <a:t>Azure landing zones – Implementation Options</a:t>
            </a:r>
          </a:p>
        </p:txBody>
      </p:sp>
      <p:sp>
        <p:nvSpPr>
          <p:cNvPr id="12" name="Text Placeholder 11">
            <a:extLst>
              <a:ext uri="{FF2B5EF4-FFF2-40B4-BE49-F238E27FC236}">
                <a16:creationId xmlns:a16="http://schemas.microsoft.com/office/drawing/2014/main" id="{C88486B0-ED6B-477E-B4C7-42553BFA46ED}"/>
              </a:ext>
            </a:extLst>
          </p:cNvPr>
          <p:cNvSpPr>
            <a:spLocks noGrp="1"/>
          </p:cNvSpPr>
          <p:nvPr>
            <p:ph type="body" sz="quarter" idx="10"/>
          </p:nvPr>
        </p:nvSpPr>
        <p:spPr>
          <a:xfrm>
            <a:off x="455995" y="2043276"/>
            <a:ext cx="9384447" cy="1261884"/>
          </a:xfrm>
        </p:spPr>
        <p:txBody>
          <a:bodyPr/>
          <a:lstStyle/>
          <a:p>
            <a:pPr>
              <a:lnSpc>
                <a:spcPct val="100000"/>
              </a:lnSpc>
              <a:spcAft>
                <a:spcPts val="600"/>
              </a:spcAft>
            </a:pPr>
            <a:r>
              <a:rPr lang="en-US" sz="2400" dirty="0">
                <a:solidFill>
                  <a:schemeClr val="tx2"/>
                </a:solidFill>
                <a:latin typeface="+mj-lt"/>
              </a:rPr>
              <a:t>Portal (ALZ Accelerator; fastest deployment option)</a:t>
            </a:r>
          </a:p>
          <a:p>
            <a:pPr>
              <a:lnSpc>
                <a:spcPct val="100000"/>
              </a:lnSpc>
              <a:spcAft>
                <a:spcPts val="600"/>
              </a:spcAft>
            </a:pPr>
            <a:r>
              <a:rPr lang="en-US" sz="2400" dirty="0">
                <a:solidFill>
                  <a:schemeClr val="tx2"/>
                </a:solidFill>
                <a:latin typeface="+mj-lt"/>
              </a:rPr>
              <a:t>Bicep</a:t>
            </a:r>
          </a:p>
          <a:p>
            <a:pPr>
              <a:lnSpc>
                <a:spcPct val="100000"/>
              </a:lnSpc>
              <a:spcAft>
                <a:spcPts val="600"/>
              </a:spcAft>
            </a:pPr>
            <a:r>
              <a:rPr lang="en-US" sz="2400" dirty="0">
                <a:solidFill>
                  <a:schemeClr val="tx2"/>
                </a:solidFill>
                <a:latin typeface="+mj-lt"/>
              </a:rPr>
              <a:t>Terraform</a:t>
            </a:r>
          </a:p>
        </p:txBody>
      </p:sp>
      <p:pic>
        <p:nvPicPr>
          <p:cNvPr id="5" name="Picture 4" descr="A picture containing text, clipart, businesscard&#10;&#10;Description automatically generated">
            <a:extLst>
              <a:ext uri="{FF2B5EF4-FFF2-40B4-BE49-F238E27FC236}">
                <a16:creationId xmlns:a16="http://schemas.microsoft.com/office/drawing/2014/main" id="{FE269832-9382-4BAA-BB49-FEBE1808B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6532" y="3727635"/>
            <a:ext cx="1098936" cy="1191617"/>
          </a:xfrm>
          <a:prstGeom prst="rect">
            <a:avLst/>
          </a:prstGeom>
        </p:spPr>
      </p:pic>
      <p:pic>
        <p:nvPicPr>
          <p:cNvPr id="7" name="Picture 6" descr="A picture containing text, clipart, table&#10;&#10;Description automatically generated">
            <a:extLst>
              <a:ext uri="{FF2B5EF4-FFF2-40B4-BE49-F238E27FC236}">
                <a16:creationId xmlns:a16="http://schemas.microsoft.com/office/drawing/2014/main" id="{F80FD44A-F086-469A-BDC1-A601CB838A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6147" y="3650438"/>
            <a:ext cx="1184997" cy="1191617"/>
          </a:xfrm>
          <a:prstGeom prst="rect">
            <a:avLst/>
          </a:prstGeom>
        </p:spPr>
      </p:pic>
      <p:pic>
        <p:nvPicPr>
          <p:cNvPr id="9" name="Picture 8" descr="Icon&#10;&#10;Description automatically generated">
            <a:extLst>
              <a:ext uri="{FF2B5EF4-FFF2-40B4-BE49-F238E27FC236}">
                <a16:creationId xmlns:a16="http://schemas.microsoft.com/office/drawing/2014/main" id="{0718D06E-B614-4E4C-9180-3394EA8EC9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6016" y="3701706"/>
            <a:ext cx="1138656" cy="1191617"/>
          </a:xfrm>
          <a:prstGeom prst="rect">
            <a:avLst/>
          </a:prstGeom>
        </p:spPr>
      </p:pic>
      <p:sp>
        <p:nvSpPr>
          <p:cNvPr id="10" name="TextBox 9">
            <a:extLst>
              <a:ext uri="{FF2B5EF4-FFF2-40B4-BE49-F238E27FC236}">
                <a16:creationId xmlns:a16="http://schemas.microsoft.com/office/drawing/2014/main" id="{D08D8AAB-BA6D-4775-A07A-3C31822D357B}"/>
              </a:ext>
            </a:extLst>
          </p:cNvPr>
          <p:cNvSpPr txBox="1"/>
          <p:nvPr/>
        </p:nvSpPr>
        <p:spPr>
          <a:xfrm>
            <a:off x="2662000" y="4926656"/>
            <a:ext cx="773289"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GB" sz="1100" b="1" dirty="0">
                <a:gradFill>
                  <a:gsLst>
                    <a:gs pos="2917">
                      <a:srgbClr val="000000"/>
                    </a:gs>
                    <a:gs pos="30000">
                      <a:srgbClr val="000000"/>
                    </a:gs>
                  </a:gsLst>
                  <a:lin ang="5400000" scaled="0"/>
                </a:gradFill>
                <a:latin typeface="Segoe UI"/>
              </a:rPr>
              <a:t>Portal</a:t>
            </a:r>
          </a:p>
        </p:txBody>
      </p:sp>
      <p:sp>
        <p:nvSpPr>
          <p:cNvPr id="21" name="TextBox 20">
            <a:extLst>
              <a:ext uri="{FF2B5EF4-FFF2-40B4-BE49-F238E27FC236}">
                <a16:creationId xmlns:a16="http://schemas.microsoft.com/office/drawing/2014/main" id="{156C503D-9317-4396-8280-E01F3FD50644}"/>
              </a:ext>
            </a:extLst>
          </p:cNvPr>
          <p:cNvSpPr txBox="1"/>
          <p:nvPr/>
        </p:nvSpPr>
        <p:spPr>
          <a:xfrm>
            <a:off x="5726438" y="4919252"/>
            <a:ext cx="739124"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icep</a:t>
            </a:r>
            <a:endParaRPr kumimoji="0" lang="en-GB" sz="1100" b="0"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2" name="TextBox 21">
            <a:extLst>
              <a:ext uri="{FF2B5EF4-FFF2-40B4-BE49-F238E27FC236}">
                <a16:creationId xmlns:a16="http://schemas.microsoft.com/office/drawing/2014/main" id="{F9CBB9EB-84F3-4BD0-829A-5625956385B7}"/>
              </a:ext>
            </a:extLst>
          </p:cNvPr>
          <p:cNvSpPr txBox="1"/>
          <p:nvPr/>
        </p:nvSpPr>
        <p:spPr>
          <a:xfrm>
            <a:off x="8553168" y="4893323"/>
            <a:ext cx="1064352"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erraform</a:t>
            </a:r>
          </a:p>
        </p:txBody>
      </p:sp>
      <p:sp>
        <p:nvSpPr>
          <p:cNvPr id="6" name="TextBox 5">
            <a:extLst>
              <a:ext uri="{FF2B5EF4-FFF2-40B4-BE49-F238E27FC236}">
                <a16:creationId xmlns:a16="http://schemas.microsoft.com/office/drawing/2014/main" id="{A7241D51-95BF-3382-C340-E13F793D96BC}"/>
              </a:ext>
            </a:extLst>
          </p:cNvPr>
          <p:cNvSpPr txBox="1"/>
          <p:nvPr/>
        </p:nvSpPr>
        <p:spPr>
          <a:xfrm>
            <a:off x="455995" y="1220498"/>
            <a:ext cx="9394587" cy="1092607"/>
          </a:xfrm>
          <a:prstGeom prst="rect">
            <a:avLst/>
          </a:prstGeom>
          <a:noFill/>
        </p:spPr>
        <p:txBody>
          <a:bodyPr wrap="square" lIns="182880" tIns="146304" rIns="182880" bIns="146304" rtlCol="0">
            <a:spAutoFit/>
          </a:bodyPr>
          <a:lstStyle/>
          <a:p>
            <a:pPr>
              <a:lnSpc>
                <a:spcPct val="90000"/>
              </a:lnSpc>
              <a:spcAft>
                <a:spcPts val="600"/>
              </a:spcAft>
            </a:pPr>
            <a:r>
              <a:rPr lang="en-US" sz="2800" dirty="0">
                <a:solidFill>
                  <a:schemeClr val="tx2"/>
                </a:solidFill>
                <a:latin typeface="Segoe UI Semibold" panose="020B0702040204020203" pitchFamily="34" charset="0"/>
                <a:cs typeface="Segoe UI Semibold" panose="020B0702040204020203" pitchFamily="34" charset="0"/>
                <a:hlinkClick r:id="rId6"/>
              </a:rPr>
              <a:t>Landing zone implementation options</a:t>
            </a:r>
            <a:endParaRPr lang="en-US" sz="28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8391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ALZ Accelerator Deployment</a:t>
            </a:r>
            <a:endParaRPr lang="en-US" sz="4000" dirty="0">
              <a:solidFill>
                <a:schemeClr val="tx2"/>
              </a:solidFill>
            </a:endParaRPr>
          </a:p>
        </p:txBody>
      </p:sp>
    </p:spTree>
    <p:extLst>
      <p:ext uri="{BB962C8B-B14F-4D97-AF65-F5344CB8AC3E}">
        <p14:creationId xmlns:p14="http://schemas.microsoft.com/office/powerpoint/2010/main" val="391127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Area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4821034" y="4759006"/>
            <a:ext cx="6406689" cy="1378534"/>
          </a:xfrm>
          <a:prstGeom prst="rect">
            <a:avLst/>
          </a:prstGeom>
        </p:spPr>
        <p:txBody>
          <a:bodyPr wrap="square" anchor="ctr">
            <a:noAutofit/>
          </a:bodyPr>
          <a:lstStyle/>
          <a:p>
            <a:r>
              <a:rPr lang="en-US" sz="1600" dirty="0">
                <a:solidFill>
                  <a:schemeClr val="tx1"/>
                </a:solidFill>
                <a:latin typeface="+mn-lt"/>
              </a:rPr>
              <a:t>Proper tenant creation, enrollment, and billing setup are important early steps.</a:t>
            </a:r>
            <a:endParaRPr lang="en-GB" sz="1600" dirty="0">
              <a:solidFill>
                <a:schemeClr val="tx1"/>
              </a:solidFill>
              <a:latin typeface="+mn-lt"/>
            </a:endParaRPr>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21034" y="772001"/>
            <a:ext cx="3069641" cy="3987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5060120" y="1506564"/>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6357384" y="1421767"/>
            <a:ext cx="5121919" cy="166175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C3251F4D-20A5-87C6-0DE4-E631C9A942AC}"/>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Identity and access management is a primary security boundary in the public cloud. It's the foundation for any secure and fully compliant architecture.</a:t>
            </a: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9C1FF5EA-82B2-E646-FC34-50F739E75CA6}"/>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Networking and connectivity decisions are an equally important foundational aspect of any cloud architecture.</a:t>
            </a:r>
          </a:p>
        </p:txBody>
      </p:sp>
    </p:spTree>
    <p:extLst>
      <p:ext uri="{BB962C8B-B14F-4D97-AF65-F5344CB8AC3E}">
        <p14:creationId xmlns:p14="http://schemas.microsoft.com/office/powerpoint/2010/main" val="3275227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D2FACCBD-FBFE-17DF-AF84-9EB30AC53D6B}"/>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As cloud adoption scales, considerations for subscription design and management group hierarchy have an impact on governance, operations management, and adoption patterns.</a:t>
            </a:r>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40E983CF-F790-1866-7240-3A1C9ECF00C5}"/>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Implement controls and processes to protect your cloud environments.</a:t>
            </a:r>
          </a:p>
        </p:txBody>
      </p:sp>
    </p:spTree>
    <p:extLst>
      <p:ext uri="{BB962C8B-B14F-4D97-AF65-F5344CB8AC3E}">
        <p14:creationId xmlns:p14="http://schemas.microsoft.com/office/powerpoint/2010/main" val="3334142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9A42B8F2-17D5-54C2-D747-7C7AE5A1E35A}"/>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For stable, ongoing operations in the cloud, a management baseline is required to provide visibility, operations compliance, and protect and recover capabilities.</a:t>
            </a:r>
          </a:p>
        </p:txBody>
      </p:sp>
    </p:spTree>
    <p:extLst>
      <p:ext uri="{BB962C8B-B14F-4D97-AF65-F5344CB8AC3E}">
        <p14:creationId xmlns:p14="http://schemas.microsoft.com/office/powerpoint/2010/main" val="245502336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
        <p:nvSpPr>
          <p:cNvPr id="3" name="Title 1">
            <a:extLst>
              <a:ext uri="{FF2B5EF4-FFF2-40B4-BE49-F238E27FC236}">
                <a16:creationId xmlns:a16="http://schemas.microsoft.com/office/drawing/2014/main" id="{892B0B54-07B3-6315-316B-19E1DB125278}"/>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Automate auditing and enforcement of governance policies.</a:t>
            </a:r>
          </a:p>
        </p:txBody>
      </p:sp>
    </p:spTree>
    <p:extLst>
      <p:ext uri="{BB962C8B-B14F-4D97-AF65-F5344CB8AC3E}">
        <p14:creationId xmlns:p14="http://schemas.microsoft.com/office/powerpoint/2010/main" val="342661385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1D30BB29-8D83-1A15-F67F-9328F492BB5C}"/>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Align the best tools and templates to deploy your landing zones and supporting resources.</a:t>
            </a: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Documenting &amp; Assessing ALZ</a:t>
            </a:r>
            <a:endParaRPr lang="en-US" sz="4000" dirty="0">
              <a:solidFill>
                <a:schemeClr val="tx2"/>
              </a:solidFill>
            </a:endParaRPr>
          </a:p>
        </p:txBody>
      </p:sp>
    </p:spTree>
    <p:extLst>
      <p:ext uri="{BB962C8B-B14F-4D97-AF65-F5344CB8AC3E}">
        <p14:creationId xmlns:p14="http://schemas.microsoft.com/office/powerpoint/2010/main" val="173965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Well-Architected</a:t>
            </a:r>
            <a:endParaRPr lang="en-US" sz="4000" dirty="0">
              <a:solidFill>
                <a:schemeClr val="tx2"/>
              </a:solidFill>
            </a:endParaRPr>
          </a:p>
        </p:txBody>
      </p:sp>
    </p:spTree>
    <p:extLst>
      <p:ext uri="{BB962C8B-B14F-4D97-AF65-F5344CB8AC3E}">
        <p14:creationId xmlns:p14="http://schemas.microsoft.com/office/powerpoint/2010/main" val="365294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D1D172-7FEE-4BDB-BA67-9A2159883989}"/>
              </a:ext>
              <a:ext uri="{C183D7F6-B498-43B3-948B-1728B52AA6E4}">
                <adec:decorative xmlns:adec="http://schemas.microsoft.com/office/drawing/2017/decorative" val="1"/>
              </a:ext>
            </a:extLst>
          </p:cNvPr>
          <p:cNvSpPr/>
          <p:nvPr/>
        </p:nvSpPr>
        <p:spPr bwMode="auto">
          <a:xfrm>
            <a:off x="1386348" y="2281272"/>
            <a:ext cx="9419303" cy="2438845"/>
          </a:xfrm>
          <a:prstGeom prst="rect">
            <a:avLst/>
          </a:prstGeom>
          <a:solidFill>
            <a:schemeClr val="accent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231106"/>
          </a:xfrm>
        </p:spPr>
        <p:txBody>
          <a:bodyPr/>
          <a:lstStyle/>
          <a:p>
            <a:pPr algn="ctr"/>
            <a:r>
              <a:rPr lang="en-US" sz="4000"/>
              <a:t>Building well-architected workloads is a </a:t>
            </a:r>
            <a:br>
              <a:rPr lang="en-US" sz="4000"/>
            </a:br>
            <a:r>
              <a:rPr lang="en-US" sz="4000" b="1">
                <a:solidFill>
                  <a:schemeClr val="accent1"/>
                </a:solidFill>
                <a:latin typeface="+mn-lt"/>
              </a:rPr>
              <a:t>shared responsibility</a:t>
            </a:r>
          </a:p>
        </p:txBody>
      </p:sp>
      <p:sp>
        <p:nvSpPr>
          <p:cNvPr id="5" name="TextBox 4">
            <a:extLst>
              <a:ext uri="{FF2B5EF4-FFF2-40B4-BE49-F238E27FC236}">
                <a16:creationId xmlns:a16="http://schemas.microsoft.com/office/drawing/2014/main" id="{E3EBDA00-BACC-49C6-A8D9-0BF9335256CF}"/>
              </a:ext>
            </a:extLst>
          </p:cNvPr>
          <p:cNvSpPr txBox="1"/>
          <p:nvPr/>
        </p:nvSpPr>
        <p:spPr>
          <a:xfrm>
            <a:off x="1546432" y="2384880"/>
            <a:ext cx="1345721" cy="553998"/>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cope of</a:t>
            </a:r>
            <a:endParaRPr kumimoji="0" lang="en-US" sz="12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E6FF"/>
                </a:solidFill>
                <a:effectLst/>
                <a:uLnTx/>
                <a:uFillTx/>
                <a:latin typeface="Segoe UI"/>
                <a:ea typeface="+mn-ea"/>
                <a:cs typeface="+mn-cs"/>
              </a:rPr>
              <a:t>Well-Architected </a:t>
            </a:r>
            <a:br>
              <a:rPr kumimoji="0" lang="en-US" sz="1200" b="1" i="0" u="none" strike="noStrike" kern="1200" cap="none" spc="0" normalizeH="0" baseline="0" noProof="0">
                <a:ln>
                  <a:noFill/>
                </a:ln>
                <a:solidFill>
                  <a:srgbClr val="50E6FF"/>
                </a:solidFill>
                <a:effectLst/>
                <a:uLnTx/>
                <a:uFillTx/>
                <a:latin typeface="Segoe UI"/>
                <a:ea typeface="+mn-ea"/>
                <a:cs typeface="+mn-cs"/>
              </a:rPr>
            </a:br>
            <a:r>
              <a:rPr kumimoji="0" lang="en-US" sz="1200" b="1" i="0" u="none" strike="noStrike" kern="1200" cap="none" spc="0" normalizeH="0" baseline="0" noProof="0">
                <a:ln>
                  <a:noFill/>
                </a:ln>
                <a:solidFill>
                  <a:srgbClr val="50E6FF"/>
                </a:solidFill>
                <a:effectLst/>
                <a:uLnTx/>
                <a:uFillTx/>
                <a:latin typeface="Segoe UI"/>
                <a:ea typeface="+mn-ea"/>
                <a:cs typeface="+mn-cs"/>
              </a:rPr>
              <a:t>Assessments</a:t>
            </a:r>
            <a:endParaRPr kumimoji="0" lang="en-US" sz="1200" b="1" i="0" u="none" strike="noStrike" kern="1200" cap="none" spc="0" normalizeH="0" baseline="0" noProof="0">
              <a:ln>
                <a:noFill/>
              </a:ln>
              <a:solidFill>
                <a:srgbClr val="50E6FF"/>
              </a:solidFill>
              <a:effectLst/>
              <a:uLnTx/>
              <a:uFillTx/>
              <a:latin typeface="Segoe UI"/>
              <a:ea typeface="+mn-ea"/>
              <a:cs typeface="Segoe UI"/>
            </a:endParaRPr>
          </a:p>
        </p:txBody>
      </p:sp>
      <p:sp>
        <p:nvSpPr>
          <p:cNvPr id="6" name="Rectangle 5">
            <a:extLst>
              <a:ext uri="{FF2B5EF4-FFF2-40B4-BE49-F238E27FC236}">
                <a16:creationId xmlns:a16="http://schemas.microsoft.com/office/drawing/2014/main" id="{66C2F490-0FCA-49BD-8DDC-1E138D9A478E}"/>
              </a:ext>
            </a:extLst>
          </p:cNvPr>
          <p:cNvSpPr/>
          <p:nvPr/>
        </p:nvSpPr>
        <p:spPr>
          <a:xfrm>
            <a:off x="2985533" y="2543356"/>
            <a:ext cx="6724844"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solidFill>
                  <a:srgbClr val="50E6FF"/>
                </a:solidFill>
                <a:effectLst/>
                <a:uLnTx/>
                <a:uFillTx/>
                <a:latin typeface="Segoe UI Semibold"/>
                <a:ea typeface="+mn-ea"/>
                <a:cs typeface="Calibri" panose="020F0502020204030204" pitchFamily="34" charset="0"/>
              </a:rPr>
              <a:t>Custome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ustome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built on the Azure platform</a:t>
            </a:r>
          </a:p>
        </p:txBody>
      </p:sp>
      <p:cxnSp>
        <p:nvCxnSpPr>
          <p:cNvPr id="9" name="Straight Connector 8">
            <a:extLst>
              <a:ext uri="{FF2B5EF4-FFF2-40B4-BE49-F238E27FC236}">
                <a16:creationId xmlns:a16="http://schemas.microsoft.com/office/drawing/2014/main" id="{3430A0C9-E3E5-47DB-8098-7BDD333E02E3}"/>
              </a:ext>
              <a:ext uri="{C183D7F6-B498-43B3-948B-1728B52AA6E4}">
                <adec:decorative xmlns:adec="http://schemas.microsoft.com/office/drawing/2017/decorative" val="1"/>
              </a:ext>
            </a:extLst>
          </p:cNvPr>
          <p:cNvCxnSpPr/>
          <p:nvPr/>
        </p:nvCxnSpPr>
        <p:spPr>
          <a:xfrm>
            <a:off x="2741519" y="3247761"/>
            <a:ext cx="6724844"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D4A7C27-B887-45D2-B2F7-1DAEC543BD34}"/>
              </a:ext>
            </a:extLst>
          </p:cNvPr>
          <p:cNvSpPr/>
          <p:nvPr/>
        </p:nvSpPr>
        <p:spPr>
          <a:xfrm>
            <a:off x="1386347" y="3686366"/>
            <a:ext cx="9419303"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solidFill>
                  <a:srgbClr val="50E6FF"/>
                </a:solidFill>
                <a:effectLst/>
                <a:uLnTx/>
                <a:uFillTx/>
                <a:latin typeface="Segoe UI Semibold"/>
                <a:ea typeface="+mn-ea"/>
                <a:cs typeface="Calibri" panose="020F0502020204030204" pitchFamily="34" charset="0"/>
              </a:rPr>
              <a:t>Platform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 customer</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s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to ensure security, reliability, operability, performance</a:t>
            </a:r>
          </a:p>
        </p:txBody>
      </p:sp>
      <p:cxnSp>
        <p:nvCxnSpPr>
          <p:cNvPr id="14" name="Straight Connector 13">
            <a:extLst>
              <a:ext uri="{FF2B5EF4-FFF2-40B4-BE49-F238E27FC236}">
                <a16:creationId xmlns:a16="http://schemas.microsoft.com/office/drawing/2014/main" id="{FD96ABA6-780E-4D44-BB2A-568231D47820}"/>
              </a:ext>
              <a:ext uri="{C183D7F6-B498-43B3-948B-1728B52AA6E4}">
                <adec:decorative xmlns:adec="http://schemas.microsoft.com/office/drawing/2017/decorative" val="1"/>
              </a:ext>
            </a:extLst>
          </p:cNvPr>
          <p:cNvCxnSpPr/>
          <p:nvPr/>
        </p:nvCxnSpPr>
        <p:spPr>
          <a:xfrm>
            <a:off x="1709523" y="4392423"/>
            <a:ext cx="8832788"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351EB48-685D-4A05-8E1E-454A31E89E3F}"/>
              </a:ext>
            </a:extLst>
          </p:cNvPr>
          <p:cNvSpPr/>
          <p:nvPr/>
        </p:nvSpPr>
        <p:spPr>
          <a:xfrm>
            <a:off x="1554458" y="4856857"/>
            <a:ext cx="9300354"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solidFill>
                  <a:srgbClr val="50E6FF"/>
                </a:solidFill>
                <a:effectLst/>
                <a:uLnTx/>
                <a:uFillTx/>
                <a:latin typeface="Segoe UI Semibold"/>
                <a:ea typeface="+mn-ea"/>
                <a:cs typeface="Calibri" panose="020F0502020204030204" pitchFamily="34" charset="0"/>
              </a:rPr>
              <a:t>Platform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Azur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a:t>
            </a:r>
          </a:p>
        </p:txBody>
      </p:sp>
      <p:cxnSp>
        <p:nvCxnSpPr>
          <p:cNvPr id="20" name="Straight Connector 19">
            <a:extLst>
              <a:ext uri="{FF2B5EF4-FFF2-40B4-BE49-F238E27FC236}">
                <a16:creationId xmlns:a16="http://schemas.microsoft.com/office/drawing/2014/main" id="{1E597D24-2EF5-4588-B02E-C336CEE05803}"/>
              </a:ext>
              <a:ext uri="{C183D7F6-B498-43B3-948B-1728B52AA6E4}">
                <adec:decorative xmlns:adec="http://schemas.microsoft.com/office/drawing/2017/decorative" val="1"/>
              </a:ext>
            </a:extLst>
          </p:cNvPr>
          <p:cNvCxnSpPr>
            <a:cxnSpLocks/>
          </p:cNvCxnSpPr>
          <p:nvPr/>
        </p:nvCxnSpPr>
        <p:spPr>
          <a:xfrm flipV="1">
            <a:off x="1709523" y="5876751"/>
            <a:ext cx="8832788" cy="5210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9809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667380" y="637519"/>
            <a:ext cx="11336039" cy="744014"/>
          </a:xfrm>
        </p:spPr>
        <p:txBody>
          <a:bodyPr>
            <a:normAutofit fontScale="90000"/>
          </a:bodyPr>
          <a:lstStyle/>
          <a:p>
            <a:r>
              <a:rPr lang="en-US">
                <a:solidFill>
                  <a:srgbClr val="4FE7FF"/>
                </a:solidFill>
                <a:latin typeface="Segoe UI Semibold" panose="020B0702040204020203" pitchFamily="34" charset="0"/>
                <a:cs typeface="Segoe UI Semibold" panose="020B0702040204020203" pitchFamily="34" charset="0"/>
              </a:rPr>
              <a:t>Microsoft Azure Well-Architected Framework</a:t>
            </a:r>
          </a:p>
        </p:txBody>
      </p:sp>
      <p:sp>
        <p:nvSpPr>
          <p:cNvPr id="6" name="Text Placeholder 5"/>
          <p:cNvSpPr>
            <a:spLocks noGrp="1"/>
          </p:cNvSpPr>
          <p:nvPr>
            <p:ph type="body" sz="quarter" idx="10"/>
          </p:nvPr>
        </p:nvSpPr>
        <p:spPr>
          <a:xfrm>
            <a:off x="550613" y="1457320"/>
            <a:ext cx="10239874" cy="1089529"/>
          </a:xfrm>
        </p:spPr>
        <p:txBody>
          <a:bodyPr/>
          <a:lstStyle/>
          <a:p>
            <a:pPr lvl="1"/>
            <a:r>
              <a:rPr lang="en-US">
                <a:solidFill>
                  <a:schemeClr val="bg1"/>
                </a:solidFill>
                <a:latin typeface="Segoe UI" panose="020B0502040204020203" pitchFamily="34" charset="0"/>
                <a:cs typeface="Segoe UI" panose="020B0502040204020203" pitchFamily="34" charset="0"/>
              </a:rPr>
              <a:t>Architecture guidance and best practices, created for architects, developers and solution owners, to improve the quality of their workloads, based on 5 aligned and connected pillars</a:t>
            </a:r>
          </a:p>
        </p:txBody>
      </p:sp>
      <p:grpSp>
        <p:nvGrpSpPr>
          <p:cNvPr id="62" name="Group 61" descr="Cost optimization pillar diagram: dollar sign in a circle">
            <a:extLst>
              <a:ext uri="{FF2B5EF4-FFF2-40B4-BE49-F238E27FC236}">
                <a16:creationId xmlns:a16="http://schemas.microsoft.com/office/drawing/2014/main" id="{41777C08-710B-4E10-A22C-6D76BCF6C14B}"/>
              </a:ext>
            </a:extLst>
          </p:cNvPr>
          <p:cNvGrpSpPr/>
          <p:nvPr/>
        </p:nvGrpSpPr>
        <p:grpSpPr>
          <a:xfrm>
            <a:off x="941674" y="3111545"/>
            <a:ext cx="1828800" cy="1945017"/>
            <a:chOff x="941674" y="3133170"/>
            <a:chExt cx="1828800" cy="1945017"/>
          </a:xfrm>
        </p:grpSpPr>
        <p:sp>
          <p:nvSpPr>
            <p:cNvPr id="14" name="TextBox 13">
              <a:extLst>
                <a:ext uri="{FF2B5EF4-FFF2-40B4-BE49-F238E27FC236}">
                  <a16:creationId xmlns:a16="http://schemas.microsoft.com/office/drawing/2014/main" id="{7821E4FC-A46C-45F4-9591-84BF724F2399}"/>
                </a:ext>
              </a:extLst>
            </p:cNvPr>
            <p:cNvSpPr txBox="1"/>
            <p:nvPr/>
          </p:nvSpPr>
          <p:spPr>
            <a:xfrm>
              <a:off x="941674" y="3133170"/>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st Optimization</a:t>
              </a:r>
            </a:p>
          </p:txBody>
        </p:sp>
        <p:pic>
          <p:nvPicPr>
            <p:cNvPr id="3" name="Picture 2">
              <a:extLst>
                <a:ext uri="{FF2B5EF4-FFF2-40B4-BE49-F238E27FC236}">
                  <a16:creationId xmlns:a16="http://schemas.microsoft.com/office/drawing/2014/main" id="{55FBECDC-F867-47C8-8C9A-F3E09566F9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8874" y="4163787"/>
              <a:ext cx="914400"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0" name="Group 59" descr="Operational excellence pillar diagram: gauge">
            <a:extLst>
              <a:ext uri="{FF2B5EF4-FFF2-40B4-BE49-F238E27FC236}">
                <a16:creationId xmlns:a16="http://schemas.microsoft.com/office/drawing/2014/main" id="{327A29B4-6B46-42BD-89AB-515B04770652}"/>
              </a:ext>
            </a:extLst>
          </p:cNvPr>
          <p:cNvGrpSpPr/>
          <p:nvPr/>
        </p:nvGrpSpPr>
        <p:grpSpPr>
          <a:xfrm>
            <a:off x="3084594" y="3111545"/>
            <a:ext cx="1828800" cy="1898186"/>
            <a:chOff x="5227514" y="3133170"/>
            <a:chExt cx="1828800" cy="1898186"/>
          </a:xfrm>
        </p:grpSpPr>
        <p:grpSp>
          <p:nvGrpSpPr>
            <p:cNvPr id="36" name="Group 34">
              <a:extLst>
                <a:ext uri="{FF2B5EF4-FFF2-40B4-BE49-F238E27FC236}">
                  <a16:creationId xmlns:a16="http://schemas.microsoft.com/office/drawing/2014/main" id="{2F4D6830-7118-4B8A-A16A-3BFC83417E17}"/>
                </a:ext>
              </a:extLst>
            </p:cNvPr>
            <p:cNvGrpSpPr>
              <a:grpSpLocks noChangeAspect="1"/>
            </p:cNvGrpSpPr>
            <p:nvPr/>
          </p:nvGrpSpPr>
          <p:grpSpPr bwMode="auto">
            <a:xfrm>
              <a:off x="5648202" y="4210619"/>
              <a:ext cx="987425" cy="820737"/>
              <a:chOff x="3572" y="2719"/>
              <a:chExt cx="622" cy="517"/>
            </a:xfrm>
          </p:grpSpPr>
          <p:sp>
            <p:nvSpPr>
              <p:cNvPr id="37" name="AutoShape 33">
                <a:extLst>
                  <a:ext uri="{FF2B5EF4-FFF2-40B4-BE49-F238E27FC236}">
                    <a16:creationId xmlns:a16="http://schemas.microsoft.com/office/drawing/2014/main" id="{973E201B-A608-4F60-BD8D-40EA50AB1E12}"/>
                  </a:ext>
                </a:extLst>
              </p:cNvPr>
              <p:cNvSpPr>
                <a:spLocks noChangeAspect="1" noChangeArrowheads="1" noTextEdit="1"/>
              </p:cNvSpPr>
              <p:nvPr/>
            </p:nvSpPr>
            <p:spPr bwMode="auto">
              <a:xfrm>
                <a:off x="3572" y="2719"/>
                <a:ext cx="622" cy="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35">
                <a:extLst>
                  <a:ext uri="{FF2B5EF4-FFF2-40B4-BE49-F238E27FC236}">
                    <a16:creationId xmlns:a16="http://schemas.microsoft.com/office/drawing/2014/main" id="{82D55764-81A3-4D89-A8B0-DC31E835F79D}"/>
                  </a:ext>
                </a:extLst>
              </p:cNvPr>
              <p:cNvSpPr>
                <a:spLocks/>
              </p:cNvSpPr>
              <p:nvPr/>
            </p:nvSpPr>
            <p:spPr bwMode="auto">
              <a:xfrm>
                <a:off x="4194" y="30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36">
                <a:extLst>
                  <a:ext uri="{FF2B5EF4-FFF2-40B4-BE49-F238E27FC236}">
                    <a16:creationId xmlns:a16="http://schemas.microsoft.com/office/drawing/2014/main" id="{97BD5CE8-E01A-4F10-BCA7-674C2E40413D}"/>
                  </a:ext>
                </a:extLst>
              </p:cNvPr>
              <p:cNvSpPr>
                <a:spLocks/>
              </p:cNvSpPr>
              <p:nvPr/>
            </p:nvSpPr>
            <p:spPr bwMode="auto">
              <a:xfrm>
                <a:off x="4075" y="3050"/>
                <a:ext cx="119" cy="186"/>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37">
                <a:extLst>
                  <a:ext uri="{FF2B5EF4-FFF2-40B4-BE49-F238E27FC236}">
                    <a16:creationId xmlns:a16="http://schemas.microsoft.com/office/drawing/2014/main" id="{B30AD870-DE6B-4C3C-8D8A-EAB3D14AE322}"/>
                  </a:ext>
                </a:extLst>
              </p:cNvPr>
              <p:cNvSpPr>
                <a:spLocks/>
              </p:cNvSpPr>
              <p:nvPr/>
            </p:nvSpPr>
            <p:spPr bwMode="auto">
              <a:xfrm>
                <a:off x="4075" y="2825"/>
                <a:ext cx="119" cy="186"/>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38">
                <a:extLst>
                  <a:ext uri="{FF2B5EF4-FFF2-40B4-BE49-F238E27FC236}">
                    <a16:creationId xmlns:a16="http://schemas.microsoft.com/office/drawing/2014/main" id="{E1CB6CB4-E354-48C4-8FF6-CD26221C3C60}"/>
                  </a:ext>
                </a:extLst>
              </p:cNvPr>
              <p:cNvSpPr>
                <a:spLocks/>
              </p:cNvSpPr>
              <p:nvPr/>
            </p:nvSpPr>
            <p:spPr bwMode="auto">
              <a:xfrm>
                <a:off x="3902" y="2719"/>
                <a:ext cx="187" cy="119"/>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39">
                <a:extLst>
                  <a:ext uri="{FF2B5EF4-FFF2-40B4-BE49-F238E27FC236}">
                    <a16:creationId xmlns:a16="http://schemas.microsoft.com/office/drawing/2014/main" id="{0D5BB535-0068-4D09-BED7-F9351177F58B}"/>
                  </a:ext>
                </a:extLst>
              </p:cNvPr>
              <p:cNvSpPr>
                <a:spLocks/>
              </p:cNvSpPr>
              <p:nvPr/>
            </p:nvSpPr>
            <p:spPr bwMode="auto">
              <a:xfrm>
                <a:off x="3677" y="2719"/>
                <a:ext cx="187" cy="119"/>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40">
                <a:extLst>
                  <a:ext uri="{FF2B5EF4-FFF2-40B4-BE49-F238E27FC236}">
                    <a16:creationId xmlns:a16="http://schemas.microsoft.com/office/drawing/2014/main" id="{1E73E21E-87CC-4C78-B4E8-5F77ADC1C360}"/>
                  </a:ext>
                </a:extLst>
              </p:cNvPr>
              <p:cNvSpPr>
                <a:spLocks/>
              </p:cNvSpPr>
              <p:nvPr/>
            </p:nvSpPr>
            <p:spPr bwMode="auto">
              <a:xfrm>
                <a:off x="3572" y="2825"/>
                <a:ext cx="118" cy="186"/>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val 41">
                <a:extLst>
                  <a:ext uri="{FF2B5EF4-FFF2-40B4-BE49-F238E27FC236}">
                    <a16:creationId xmlns:a16="http://schemas.microsoft.com/office/drawing/2014/main" id="{FF3AD640-2AA6-43D9-B5AD-886F7F329670}"/>
                  </a:ext>
                </a:extLst>
              </p:cNvPr>
              <p:cNvSpPr>
                <a:spLocks noChangeArrowheads="1"/>
              </p:cNvSpPr>
              <p:nvPr/>
            </p:nvSpPr>
            <p:spPr bwMode="auto">
              <a:xfrm>
                <a:off x="3825" y="2972"/>
                <a:ext cx="117" cy="11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42">
                <a:extLst>
                  <a:ext uri="{FF2B5EF4-FFF2-40B4-BE49-F238E27FC236}">
                    <a16:creationId xmlns:a16="http://schemas.microsoft.com/office/drawing/2014/main" id="{05D1E2B4-6C9C-4C2F-B653-7FF2EED5A11D}"/>
                  </a:ext>
                </a:extLst>
              </p:cNvPr>
              <p:cNvSpPr>
                <a:spLocks/>
              </p:cNvSpPr>
              <p:nvPr/>
            </p:nvSpPr>
            <p:spPr bwMode="auto">
              <a:xfrm>
                <a:off x="3853" y="2883"/>
                <a:ext cx="176" cy="176"/>
              </a:xfrm>
              <a:custGeom>
                <a:avLst/>
                <a:gdLst>
                  <a:gd name="T0" fmla="*/ 41 w 176"/>
                  <a:gd name="T1" fmla="*/ 176 h 176"/>
                  <a:gd name="T2" fmla="*/ 0 w 176"/>
                  <a:gd name="T3" fmla="*/ 135 h 176"/>
                  <a:gd name="T4" fmla="*/ 135 w 176"/>
                  <a:gd name="T5" fmla="*/ 0 h 176"/>
                  <a:gd name="T6" fmla="*/ 176 w 176"/>
                  <a:gd name="T7" fmla="*/ 41 h 176"/>
                  <a:gd name="T8" fmla="*/ 41 w 176"/>
                  <a:gd name="T9" fmla="*/ 176 h 176"/>
                </a:gdLst>
                <a:ahLst/>
                <a:cxnLst>
                  <a:cxn ang="0">
                    <a:pos x="T0" y="T1"/>
                  </a:cxn>
                  <a:cxn ang="0">
                    <a:pos x="T2" y="T3"/>
                  </a:cxn>
                  <a:cxn ang="0">
                    <a:pos x="T4" y="T5"/>
                  </a:cxn>
                  <a:cxn ang="0">
                    <a:pos x="T6" y="T7"/>
                  </a:cxn>
                  <a:cxn ang="0">
                    <a:pos x="T8" y="T9"/>
                  </a:cxn>
                </a:cxnLst>
                <a:rect l="0" t="0" r="r" b="b"/>
                <a:pathLst>
                  <a:path w="176" h="176">
                    <a:moveTo>
                      <a:pt x="41" y="176"/>
                    </a:moveTo>
                    <a:lnTo>
                      <a:pt x="0" y="135"/>
                    </a:lnTo>
                    <a:lnTo>
                      <a:pt x="135" y="0"/>
                    </a:lnTo>
                    <a:lnTo>
                      <a:pt x="176" y="41"/>
                    </a:lnTo>
                    <a:lnTo>
                      <a:pt x="41" y="17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7" name="TextBox 46">
              <a:extLst>
                <a:ext uri="{FF2B5EF4-FFF2-40B4-BE49-F238E27FC236}">
                  <a16:creationId xmlns:a16="http://schemas.microsoft.com/office/drawing/2014/main" id="{5CE17EA5-3FEF-4B89-A6C4-5F6037124AFD}"/>
                </a:ext>
              </a:extLst>
            </p:cNvPr>
            <p:cNvSpPr txBox="1"/>
            <p:nvPr/>
          </p:nvSpPr>
          <p:spPr>
            <a:xfrm>
              <a:off x="5227514" y="3133170"/>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perational Excellence</a:t>
              </a:r>
            </a:p>
          </p:txBody>
        </p:sp>
      </p:grpSp>
      <p:grpSp>
        <p:nvGrpSpPr>
          <p:cNvPr id="24" name="Group 23" descr="Performance excellence pillar diagram: three gears">
            <a:extLst>
              <a:ext uri="{FF2B5EF4-FFF2-40B4-BE49-F238E27FC236}">
                <a16:creationId xmlns:a16="http://schemas.microsoft.com/office/drawing/2014/main" id="{3564EF5E-CBD8-483E-9343-26975447BC20}"/>
              </a:ext>
            </a:extLst>
          </p:cNvPr>
          <p:cNvGrpSpPr/>
          <p:nvPr/>
        </p:nvGrpSpPr>
        <p:grpSpPr>
          <a:xfrm>
            <a:off x="5227514" y="3111545"/>
            <a:ext cx="1828800" cy="1945017"/>
            <a:chOff x="5227514" y="3111545"/>
            <a:chExt cx="1828800" cy="1945017"/>
          </a:xfrm>
        </p:grpSpPr>
        <p:sp>
          <p:nvSpPr>
            <p:cNvPr id="45" name="TextBox 44">
              <a:extLst>
                <a:ext uri="{FF2B5EF4-FFF2-40B4-BE49-F238E27FC236}">
                  <a16:creationId xmlns:a16="http://schemas.microsoft.com/office/drawing/2014/main" id="{983DDC4B-5956-4CFB-A6A9-3B6CE1D12D58}"/>
                </a:ext>
              </a:extLst>
            </p:cNvPr>
            <p:cNvSpPr txBox="1"/>
            <p:nvPr/>
          </p:nvSpPr>
          <p:spPr>
            <a:xfrm>
              <a:off x="5227514" y="3111545"/>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erformance Efficiency</a:t>
              </a:r>
            </a:p>
          </p:txBody>
        </p:sp>
        <p:grpSp>
          <p:nvGrpSpPr>
            <p:cNvPr id="61" name="Group 4">
              <a:extLst>
                <a:ext uri="{FF2B5EF4-FFF2-40B4-BE49-F238E27FC236}">
                  <a16:creationId xmlns:a16="http://schemas.microsoft.com/office/drawing/2014/main" id="{5CF53670-DD1E-4F08-A660-C48A6379C49E}"/>
                </a:ext>
              </a:extLst>
            </p:cNvPr>
            <p:cNvGrpSpPr>
              <a:grpSpLocks noChangeAspect="1"/>
            </p:cNvGrpSpPr>
            <p:nvPr/>
          </p:nvGrpSpPr>
          <p:grpSpPr bwMode="auto">
            <a:xfrm>
              <a:off x="5638994" y="4050722"/>
              <a:ext cx="1005840" cy="1005840"/>
              <a:chOff x="8417" y="3338"/>
              <a:chExt cx="374" cy="374"/>
            </a:xfrm>
          </p:grpSpPr>
          <p:sp>
            <p:nvSpPr>
              <p:cNvPr id="63" name="AutoShape 3">
                <a:extLst>
                  <a:ext uri="{FF2B5EF4-FFF2-40B4-BE49-F238E27FC236}">
                    <a16:creationId xmlns:a16="http://schemas.microsoft.com/office/drawing/2014/main" id="{1F7138AF-6B25-4BDD-9EFE-272F54E629EC}"/>
                  </a:ext>
                </a:extLst>
              </p:cNvPr>
              <p:cNvSpPr>
                <a:spLocks noChangeAspect="1" noChangeArrowheads="1" noTextEdit="1"/>
              </p:cNvSpPr>
              <p:nvPr/>
            </p:nvSpPr>
            <p:spPr bwMode="auto">
              <a:xfrm>
                <a:off x="8417" y="3338"/>
                <a:ext cx="374"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5">
                <a:extLst>
                  <a:ext uri="{FF2B5EF4-FFF2-40B4-BE49-F238E27FC236}">
                    <a16:creationId xmlns:a16="http://schemas.microsoft.com/office/drawing/2014/main" id="{14E09163-88CF-4E23-8EEE-5E6FD3C911CC}"/>
                  </a:ext>
                </a:extLst>
              </p:cNvPr>
              <p:cNvSpPr>
                <a:spLocks noEditPoints="1"/>
              </p:cNvSpPr>
              <p:nvPr/>
            </p:nvSpPr>
            <p:spPr bwMode="auto">
              <a:xfrm>
                <a:off x="8518" y="3350"/>
                <a:ext cx="278" cy="24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6">
                <a:extLst>
                  <a:ext uri="{FF2B5EF4-FFF2-40B4-BE49-F238E27FC236}">
                    <a16:creationId xmlns:a16="http://schemas.microsoft.com/office/drawing/2014/main" id="{765C1518-5754-4B31-95CF-89E305324FD6}"/>
                  </a:ext>
                </a:extLst>
              </p:cNvPr>
              <p:cNvSpPr>
                <a:spLocks/>
              </p:cNvSpPr>
              <p:nvPr/>
            </p:nvSpPr>
            <p:spPr bwMode="auto">
              <a:xfrm>
                <a:off x="8685" y="3338"/>
                <a:ext cx="37" cy="33"/>
              </a:xfrm>
              <a:custGeom>
                <a:avLst/>
                <a:gdLst>
                  <a:gd name="T0" fmla="*/ 29 w 37"/>
                  <a:gd name="T1" fmla="*/ 33 h 33"/>
                  <a:gd name="T2" fmla="*/ 0 w 37"/>
                  <a:gd name="T3" fmla="*/ 21 h 33"/>
                  <a:gd name="T4" fmla="*/ 9 w 37"/>
                  <a:gd name="T5" fmla="*/ 0 h 33"/>
                  <a:gd name="T6" fmla="*/ 37 w 37"/>
                  <a:gd name="T7" fmla="*/ 12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1"/>
                    </a:lnTo>
                    <a:lnTo>
                      <a:pt x="9" y="0"/>
                    </a:lnTo>
                    <a:lnTo>
                      <a:pt x="37" y="12"/>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7">
                <a:extLst>
                  <a:ext uri="{FF2B5EF4-FFF2-40B4-BE49-F238E27FC236}">
                    <a16:creationId xmlns:a16="http://schemas.microsoft.com/office/drawing/2014/main" id="{13393213-B1B2-4BF4-AEC6-44F851DBF8CE}"/>
                  </a:ext>
                </a:extLst>
              </p:cNvPr>
              <p:cNvSpPr>
                <a:spLocks/>
              </p:cNvSpPr>
              <p:nvPr/>
            </p:nvSpPr>
            <p:spPr bwMode="auto">
              <a:xfrm>
                <a:off x="8591" y="3574"/>
                <a:ext cx="37" cy="33"/>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8">
                <a:extLst>
                  <a:ext uri="{FF2B5EF4-FFF2-40B4-BE49-F238E27FC236}">
                    <a16:creationId xmlns:a16="http://schemas.microsoft.com/office/drawing/2014/main" id="{B87BF601-960E-423C-ADF7-D70B9F8E72A8}"/>
                  </a:ext>
                </a:extLst>
              </p:cNvPr>
              <p:cNvSpPr>
                <a:spLocks/>
              </p:cNvSpPr>
              <p:nvPr/>
            </p:nvSpPr>
            <p:spPr bwMode="auto">
              <a:xfrm>
                <a:off x="8758" y="3501"/>
                <a:ext cx="33" cy="37"/>
              </a:xfrm>
              <a:custGeom>
                <a:avLst/>
                <a:gdLst>
                  <a:gd name="T0" fmla="*/ 33 w 33"/>
                  <a:gd name="T1" fmla="*/ 9 h 37"/>
                  <a:gd name="T2" fmla="*/ 22 w 33"/>
                  <a:gd name="T3" fmla="*/ 37 h 37"/>
                  <a:gd name="T4" fmla="*/ 0 w 33"/>
                  <a:gd name="T5" fmla="*/ 29 h 37"/>
                  <a:gd name="T6" fmla="*/ 12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2" y="0"/>
                    </a:lnTo>
                    <a:lnTo>
                      <a:pt x="33" y="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9">
                <a:extLst>
                  <a:ext uri="{FF2B5EF4-FFF2-40B4-BE49-F238E27FC236}">
                    <a16:creationId xmlns:a16="http://schemas.microsoft.com/office/drawing/2014/main" id="{AC883136-E086-4698-9D0E-2F05AA3B7DC6}"/>
                  </a:ext>
                </a:extLst>
              </p:cNvPr>
              <p:cNvSpPr>
                <a:spLocks/>
              </p:cNvSpPr>
              <p:nvPr/>
            </p:nvSpPr>
            <p:spPr bwMode="auto">
              <a:xfrm>
                <a:off x="8522" y="3407"/>
                <a:ext cx="33" cy="37"/>
              </a:xfrm>
              <a:custGeom>
                <a:avLst/>
                <a:gdLst>
                  <a:gd name="T0" fmla="*/ 33 w 33"/>
                  <a:gd name="T1" fmla="*/ 8 h 37"/>
                  <a:gd name="T2" fmla="*/ 22 w 33"/>
                  <a:gd name="T3" fmla="*/ 37 h 37"/>
                  <a:gd name="T4" fmla="*/ 0 w 33"/>
                  <a:gd name="T5" fmla="*/ 29 h 37"/>
                  <a:gd name="T6" fmla="*/ 12 w 33"/>
                  <a:gd name="T7" fmla="*/ 0 h 37"/>
                  <a:gd name="T8" fmla="*/ 33 w 33"/>
                  <a:gd name="T9" fmla="*/ 8 h 37"/>
                </a:gdLst>
                <a:ahLst/>
                <a:cxnLst>
                  <a:cxn ang="0">
                    <a:pos x="T0" y="T1"/>
                  </a:cxn>
                  <a:cxn ang="0">
                    <a:pos x="T2" y="T3"/>
                  </a:cxn>
                  <a:cxn ang="0">
                    <a:pos x="T4" y="T5"/>
                  </a:cxn>
                  <a:cxn ang="0">
                    <a:pos x="T6" y="T7"/>
                  </a:cxn>
                  <a:cxn ang="0">
                    <a:pos x="T8" y="T9"/>
                  </a:cxn>
                </a:cxnLst>
                <a:rect l="0" t="0" r="r" b="b"/>
                <a:pathLst>
                  <a:path w="33" h="37">
                    <a:moveTo>
                      <a:pt x="33" y="8"/>
                    </a:moveTo>
                    <a:lnTo>
                      <a:pt x="22" y="37"/>
                    </a:lnTo>
                    <a:lnTo>
                      <a:pt x="0" y="29"/>
                    </a:lnTo>
                    <a:lnTo>
                      <a:pt x="12" y="0"/>
                    </a:lnTo>
                    <a:lnTo>
                      <a:pt x="33" y="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0">
                <a:extLst>
                  <a:ext uri="{FF2B5EF4-FFF2-40B4-BE49-F238E27FC236}">
                    <a16:creationId xmlns:a16="http://schemas.microsoft.com/office/drawing/2014/main" id="{11A157FE-7EBA-45A8-82DD-623D64F2158C}"/>
                  </a:ext>
                </a:extLst>
              </p:cNvPr>
              <p:cNvSpPr>
                <a:spLocks/>
              </p:cNvSpPr>
              <p:nvPr/>
            </p:nvSpPr>
            <p:spPr bwMode="auto">
              <a:xfrm>
                <a:off x="8523" y="3504"/>
                <a:ext cx="34" cy="37"/>
              </a:xfrm>
              <a:custGeom>
                <a:avLst/>
                <a:gdLst>
                  <a:gd name="T0" fmla="*/ 21 w 34"/>
                  <a:gd name="T1" fmla="*/ 0 h 37"/>
                  <a:gd name="T2" fmla="*/ 34 w 34"/>
                  <a:gd name="T3" fmla="*/ 28 h 37"/>
                  <a:gd name="T4" fmla="*/ 12 w 34"/>
                  <a:gd name="T5" fmla="*/ 37 h 37"/>
                  <a:gd name="T6" fmla="*/ 0 w 34"/>
                  <a:gd name="T7" fmla="*/ 9 h 37"/>
                  <a:gd name="T8" fmla="*/ 21 w 34"/>
                  <a:gd name="T9" fmla="*/ 0 h 37"/>
                </a:gdLst>
                <a:ahLst/>
                <a:cxnLst>
                  <a:cxn ang="0">
                    <a:pos x="T0" y="T1"/>
                  </a:cxn>
                  <a:cxn ang="0">
                    <a:pos x="T2" y="T3"/>
                  </a:cxn>
                  <a:cxn ang="0">
                    <a:pos x="T4" y="T5"/>
                  </a:cxn>
                  <a:cxn ang="0">
                    <a:pos x="T6" y="T7"/>
                  </a:cxn>
                  <a:cxn ang="0">
                    <a:pos x="T8" y="T9"/>
                  </a:cxn>
                </a:cxnLst>
                <a:rect l="0" t="0" r="r" b="b"/>
                <a:pathLst>
                  <a:path w="34" h="37">
                    <a:moveTo>
                      <a:pt x="21" y="0"/>
                    </a:moveTo>
                    <a:lnTo>
                      <a:pt x="34"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1">
                <a:extLst>
                  <a:ext uri="{FF2B5EF4-FFF2-40B4-BE49-F238E27FC236}">
                    <a16:creationId xmlns:a16="http://schemas.microsoft.com/office/drawing/2014/main" id="{42034E68-819C-4718-8A89-116E0A5EF487}"/>
                  </a:ext>
                </a:extLst>
              </p:cNvPr>
              <p:cNvSpPr>
                <a:spLocks/>
              </p:cNvSpPr>
              <p:nvPr/>
            </p:nvSpPr>
            <p:spPr bwMode="auto">
              <a:xfrm>
                <a:off x="8757" y="3404"/>
                <a:ext cx="33" cy="37"/>
              </a:xfrm>
              <a:custGeom>
                <a:avLst/>
                <a:gdLst>
                  <a:gd name="T0" fmla="*/ 21 w 33"/>
                  <a:gd name="T1" fmla="*/ 0 h 37"/>
                  <a:gd name="T2" fmla="*/ 33 w 33"/>
                  <a:gd name="T3" fmla="*/ 28 h 37"/>
                  <a:gd name="T4" fmla="*/ 12 w 33"/>
                  <a:gd name="T5" fmla="*/ 37 h 37"/>
                  <a:gd name="T6" fmla="*/ 0 w 33"/>
                  <a:gd name="T7" fmla="*/ 9 h 37"/>
                  <a:gd name="T8" fmla="*/ 21 w 33"/>
                  <a:gd name="T9" fmla="*/ 0 h 37"/>
                </a:gdLst>
                <a:ahLst/>
                <a:cxnLst>
                  <a:cxn ang="0">
                    <a:pos x="T0" y="T1"/>
                  </a:cxn>
                  <a:cxn ang="0">
                    <a:pos x="T2" y="T3"/>
                  </a:cxn>
                  <a:cxn ang="0">
                    <a:pos x="T4" y="T5"/>
                  </a:cxn>
                  <a:cxn ang="0">
                    <a:pos x="T6" y="T7"/>
                  </a:cxn>
                  <a:cxn ang="0">
                    <a:pos x="T8" y="T9"/>
                  </a:cxn>
                </a:cxnLst>
                <a:rect l="0" t="0" r="r" b="b"/>
                <a:pathLst>
                  <a:path w="33" h="37">
                    <a:moveTo>
                      <a:pt x="21" y="0"/>
                    </a:moveTo>
                    <a:lnTo>
                      <a:pt x="33"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12">
                <a:extLst>
                  <a:ext uri="{FF2B5EF4-FFF2-40B4-BE49-F238E27FC236}">
                    <a16:creationId xmlns:a16="http://schemas.microsoft.com/office/drawing/2014/main" id="{A3C47503-1FED-4F06-9A57-9503C5EDDE02}"/>
                  </a:ext>
                </a:extLst>
              </p:cNvPr>
              <p:cNvSpPr>
                <a:spLocks/>
              </p:cNvSpPr>
              <p:nvPr/>
            </p:nvSpPr>
            <p:spPr bwMode="auto">
              <a:xfrm>
                <a:off x="8688" y="3573"/>
                <a:ext cx="38" cy="33"/>
              </a:xfrm>
              <a:custGeom>
                <a:avLst/>
                <a:gdLst>
                  <a:gd name="T0" fmla="*/ 0 w 38"/>
                  <a:gd name="T1" fmla="*/ 12 h 33"/>
                  <a:gd name="T2" fmla="*/ 29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9" y="0"/>
                    </a:lnTo>
                    <a:lnTo>
                      <a:pt x="38" y="21"/>
                    </a:lnTo>
                    <a:lnTo>
                      <a:pt x="9" y="33"/>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3">
                <a:extLst>
                  <a:ext uri="{FF2B5EF4-FFF2-40B4-BE49-F238E27FC236}">
                    <a16:creationId xmlns:a16="http://schemas.microsoft.com/office/drawing/2014/main" id="{1DB93EED-5969-4A91-9BA2-1C1843D8088A}"/>
                  </a:ext>
                </a:extLst>
              </p:cNvPr>
              <p:cNvSpPr>
                <a:spLocks/>
              </p:cNvSpPr>
              <p:nvPr/>
            </p:nvSpPr>
            <p:spPr bwMode="auto">
              <a:xfrm>
                <a:off x="8588" y="3339"/>
                <a:ext cx="37" cy="34"/>
              </a:xfrm>
              <a:custGeom>
                <a:avLst/>
                <a:gdLst>
                  <a:gd name="T0" fmla="*/ 0 w 37"/>
                  <a:gd name="T1" fmla="*/ 12 h 34"/>
                  <a:gd name="T2" fmla="*/ 28 w 37"/>
                  <a:gd name="T3" fmla="*/ 0 h 34"/>
                  <a:gd name="T4" fmla="*/ 37 w 37"/>
                  <a:gd name="T5" fmla="*/ 21 h 34"/>
                  <a:gd name="T6" fmla="*/ 9 w 37"/>
                  <a:gd name="T7" fmla="*/ 34 h 34"/>
                  <a:gd name="T8" fmla="*/ 0 w 37"/>
                  <a:gd name="T9" fmla="*/ 12 h 34"/>
                </a:gdLst>
                <a:ahLst/>
                <a:cxnLst>
                  <a:cxn ang="0">
                    <a:pos x="T0" y="T1"/>
                  </a:cxn>
                  <a:cxn ang="0">
                    <a:pos x="T2" y="T3"/>
                  </a:cxn>
                  <a:cxn ang="0">
                    <a:pos x="T4" y="T5"/>
                  </a:cxn>
                  <a:cxn ang="0">
                    <a:pos x="T6" y="T7"/>
                  </a:cxn>
                  <a:cxn ang="0">
                    <a:pos x="T8" y="T9"/>
                  </a:cxn>
                </a:cxnLst>
                <a:rect l="0" t="0" r="r" b="b"/>
                <a:pathLst>
                  <a:path w="37" h="34">
                    <a:moveTo>
                      <a:pt x="0" y="12"/>
                    </a:moveTo>
                    <a:lnTo>
                      <a:pt x="28" y="0"/>
                    </a:lnTo>
                    <a:lnTo>
                      <a:pt x="37" y="21"/>
                    </a:lnTo>
                    <a:lnTo>
                      <a:pt x="9" y="34"/>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4">
                <a:extLst>
                  <a:ext uri="{FF2B5EF4-FFF2-40B4-BE49-F238E27FC236}">
                    <a16:creationId xmlns:a16="http://schemas.microsoft.com/office/drawing/2014/main" id="{C70DD67B-011C-4C0B-9C0D-AF1B7A7031FE}"/>
                  </a:ext>
                </a:extLst>
              </p:cNvPr>
              <p:cNvSpPr>
                <a:spLocks noEditPoints="1"/>
              </p:cNvSpPr>
              <p:nvPr/>
            </p:nvSpPr>
            <p:spPr bwMode="auto">
              <a:xfrm>
                <a:off x="8428" y="3561"/>
                <a:ext cx="141" cy="140"/>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5">
                <a:extLst>
                  <a:ext uri="{FF2B5EF4-FFF2-40B4-BE49-F238E27FC236}">
                    <a16:creationId xmlns:a16="http://schemas.microsoft.com/office/drawing/2014/main" id="{B6EAA6C4-68DD-415D-B675-258C0A762541}"/>
                  </a:ext>
                </a:extLst>
              </p:cNvPr>
              <p:cNvSpPr>
                <a:spLocks/>
              </p:cNvSpPr>
              <p:nvPr/>
            </p:nvSpPr>
            <p:spPr bwMode="auto">
              <a:xfrm>
                <a:off x="8489" y="3548"/>
                <a:ext cx="17" cy="15"/>
              </a:xfrm>
              <a:custGeom>
                <a:avLst/>
                <a:gdLst>
                  <a:gd name="T0" fmla="*/ 17 w 17"/>
                  <a:gd name="T1" fmla="*/ 15 h 15"/>
                  <a:gd name="T2" fmla="*/ 0 w 17"/>
                  <a:gd name="T3" fmla="*/ 15 h 15"/>
                  <a:gd name="T4" fmla="*/ 0 w 17"/>
                  <a:gd name="T5" fmla="*/ 1 h 15"/>
                  <a:gd name="T6" fmla="*/ 17 w 17"/>
                  <a:gd name="T7" fmla="*/ 0 h 15"/>
                  <a:gd name="T8" fmla="*/ 17 w 17"/>
                  <a:gd name="T9" fmla="*/ 15 h 15"/>
                </a:gdLst>
                <a:ahLst/>
                <a:cxnLst>
                  <a:cxn ang="0">
                    <a:pos x="T0" y="T1"/>
                  </a:cxn>
                  <a:cxn ang="0">
                    <a:pos x="T2" y="T3"/>
                  </a:cxn>
                  <a:cxn ang="0">
                    <a:pos x="T4" y="T5"/>
                  </a:cxn>
                  <a:cxn ang="0">
                    <a:pos x="T6" y="T7"/>
                  </a:cxn>
                  <a:cxn ang="0">
                    <a:pos x="T8" y="T9"/>
                  </a:cxn>
                </a:cxnLst>
                <a:rect l="0" t="0" r="r" b="b"/>
                <a:pathLst>
                  <a:path w="17" h="15">
                    <a:moveTo>
                      <a:pt x="17" y="15"/>
                    </a:moveTo>
                    <a:lnTo>
                      <a:pt x="0" y="15"/>
                    </a:lnTo>
                    <a:lnTo>
                      <a:pt x="0" y="1"/>
                    </a:lnTo>
                    <a:lnTo>
                      <a:pt x="17" y="0"/>
                    </a:lnTo>
                    <a:lnTo>
                      <a:pt x="17"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Rectangle 16">
                <a:extLst>
                  <a:ext uri="{FF2B5EF4-FFF2-40B4-BE49-F238E27FC236}">
                    <a16:creationId xmlns:a16="http://schemas.microsoft.com/office/drawing/2014/main" id="{CE91F028-A991-48A8-9037-CC3A6660E2CB}"/>
                  </a:ext>
                </a:extLst>
              </p:cNvPr>
              <p:cNvSpPr>
                <a:spLocks noChangeArrowheads="1"/>
              </p:cNvSpPr>
              <p:nvPr/>
            </p:nvSpPr>
            <p:spPr bwMode="auto">
              <a:xfrm>
                <a:off x="8492" y="3698"/>
                <a:ext cx="17"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7">
                <a:extLst>
                  <a:ext uri="{FF2B5EF4-FFF2-40B4-BE49-F238E27FC236}">
                    <a16:creationId xmlns:a16="http://schemas.microsoft.com/office/drawing/2014/main" id="{E908D0C2-5904-436A-AB26-16EBF12D39F2}"/>
                  </a:ext>
                </a:extLst>
              </p:cNvPr>
              <p:cNvSpPr>
                <a:spLocks/>
              </p:cNvSpPr>
              <p:nvPr/>
            </p:nvSpPr>
            <p:spPr bwMode="auto">
              <a:xfrm>
                <a:off x="8566" y="3622"/>
                <a:ext cx="15" cy="17"/>
              </a:xfrm>
              <a:custGeom>
                <a:avLst/>
                <a:gdLst>
                  <a:gd name="T0" fmla="*/ 14 w 15"/>
                  <a:gd name="T1" fmla="*/ 0 h 17"/>
                  <a:gd name="T2" fmla="*/ 15 w 15"/>
                  <a:gd name="T3" fmla="*/ 17 h 17"/>
                  <a:gd name="T4" fmla="*/ 0 w 15"/>
                  <a:gd name="T5" fmla="*/ 17 h 17"/>
                  <a:gd name="T6" fmla="*/ 0 w 15"/>
                  <a:gd name="T7" fmla="*/ 0 h 17"/>
                  <a:gd name="T8" fmla="*/ 14 w 15"/>
                  <a:gd name="T9" fmla="*/ 0 h 17"/>
                </a:gdLst>
                <a:ahLst/>
                <a:cxnLst>
                  <a:cxn ang="0">
                    <a:pos x="T0" y="T1"/>
                  </a:cxn>
                  <a:cxn ang="0">
                    <a:pos x="T2" y="T3"/>
                  </a:cxn>
                  <a:cxn ang="0">
                    <a:pos x="T4" y="T5"/>
                  </a:cxn>
                  <a:cxn ang="0">
                    <a:pos x="T6" y="T7"/>
                  </a:cxn>
                  <a:cxn ang="0">
                    <a:pos x="T8" y="T9"/>
                  </a:cxn>
                </a:cxnLst>
                <a:rect l="0" t="0" r="r" b="b"/>
                <a:pathLst>
                  <a:path w="15" h="17">
                    <a:moveTo>
                      <a:pt x="14" y="0"/>
                    </a:moveTo>
                    <a:lnTo>
                      <a:pt x="15" y="17"/>
                    </a:lnTo>
                    <a:lnTo>
                      <a:pt x="0" y="17"/>
                    </a:lnTo>
                    <a:lnTo>
                      <a:pt x="0" y="0"/>
                    </a:lnTo>
                    <a:lnTo>
                      <a:pt x="1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Rectangle 18">
                <a:extLst>
                  <a:ext uri="{FF2B5EF4-FFF2-40B4-BE49-F238E27FC236}">
                    <a16:creationId xmlns:a16="http://schemas.microsoft.com/office/drawing/2014/main" id="{0A0D01D2-3953-40E9-8A90-098CAA1F6555}"/>
                  </a:ext>
                </a:extLst>
              </p:cNvPr>
              <p:cNvSpPr>
                <a:spLocks noChangeArrowheads="1"/>
              </p:cNvSpPr>
              <p:nvPr/>
            </p:nvSpPr>
            <p:spPr bwMode="auto">
              <a:xfrm>
                <a:off x="8417" y="3622"/>
                <a:ext cx="15" cy="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19">
                <a:extLst>
                  <a:ext uri="{FF2B5EF4-FFF2-40B4-BE49-F238E27FC236}">
                    <a16:creationId xmlns:a16="http://schemas.microsoft.com/office/drawing/2014/main" id="{71344567-C7E7-42E3-8EA3-D901103FC9E4}"/>
                  </a:ext>
                </a:extLst>
              </p:cNvPr>
              <p:cNvSpPr>
                <a:spLocks/>
              </p:cNvSpPr>
              <p:nvPr/>
            </p:nvSpPr>
            <p:spPr bwMode="auto">
              <a:xfrm>
                <a:off x="8435" y="3672"/>
                <a:ext cx="23" cy="23"/>
              </a:xfrm>
              <a:custGeom>
                <a:avLst/>
                <a:gdLst>
                  <a:gd name="T0" fmla="*/ 10 w 23"/>
                  <a:gd name="T1" fmla="*/ 0 h 23"/>
                  <a:gd name="T2" fmla="*/ 23 w 23"/>
                  <a:gd name="T3" fmla="*/ 13 h 23"/>
                  <a:gd name="T4" fmla="*/ 14 w 23"/>
                  <a:gd name="T5" fmla="*/ 23 h 23"/>
                  <a:gd name="T6" fmla="*/ 0 w 23"/>
                  <a:gd name="T7" fmla="*/ 10 h 23"/>
                  <a:gd name="T8" fmla="*/ 10 w 23"/>
                  <a:gd name="T9" fmla="*/ 0 h 23"/>
                </a:gdLst>
                <a:ahLst/>
                <a:cxnLst>
                  <a:cxn ang="0">
                    <a:pos x="T0" y="T1"/>
                  </a:cxn>
                  <a:cxn ang="0">
                    <a:pos x="T2" y="T3"/>
                  </a:cxn>
                  <a:cxn ang="0">
                    <a:pos x="T4" y="T5"/>
                  </a:cxn>
                  <a:cxn ang="0">
                    <a:pos x="T6" y="T7"/>
                  </a:cxn>
                  <a:cxn ang="0">
                    <a:pos x="T8" y="T9"/>
                  </a:cxn>
                </a:cxnLst>
                <a:rect l="0" t="0" r="r" b="b"/>
                <a:pathLst>
                  <a:path w="23" h="23">
                    <a:moveTo>
                      <a:pt x="10" y="0"/>
                    </a:moveTo>
                    <a:lnTo>
                      <a:pt x="23" y="13"/>
                    </a:lnTo>
                    <a:lnTo>
                      <a:pt x="14" y="23"/>
                    </a:lnTo>
                    <a:lnTo>
                      <a:pt x="0" y="10"/>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20">
                <a:extLst>
                  <a:ext uri="{FF2B5EF4-FFF2-40B4-BE49-F238E27FC236}">
                    <a16:creationId xmlns:a16="http://schemas.microsoft.com/office/drawing/2014/main" id="{36FD68C3-61BF-4A2E-AAAE-6527F359C606}"/>
                  </a:ext>
                </a:extLst>
              </p:cNvPr>
              <p:cNvSpPr>
                <a:spLocks/>
              </p:cNvSpPr>
              <p:nvPr/>
            </p:nvSpPr>
            <p:spPr bwMode="auto">
              <a:xfrm>
                <a:off x="8540" y="3567"/>
                <a:ext cx="23" cy="22"/>
              </a:xfrm>
              <a:custGeom>
                <a:avLst/>
                <a:gdLst>
                  <a:gd name="T0" fmla="*/ 10 w 23"/>
                  <a:gd name="T1" fmla="*/ 0 h 22"/>
                  <a:gd name="T2" fmla="*/ 23 w 23"/>
                  <a:gd name="T3" fmla="*/ 12 h 22"/>
                  <a:gd name="T4" fmla="*/ 13 w 23"/>
                  <a:gd name="T5" fmla="*/ 22 h 22"/>
                  <a:gd name="T6" fmla="*/ 0 w 23"/>
                  <a:gd name="T7" fmla="*/ 9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lnTo>
                      <a:pt x="23" y="12"/>
                    </a:lnTo>
                    <a:lnTo>
                      <a:pt x="13" y="22"/>
                    </a:lnTo>
                    <a:lnTo>
                      <a:pt x="0" y="9"/>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1">
                <a:extLst>
                  <a:ext uri="{FF2B5EF4-FFF2-40B4-BE49-F238E27FC236}">
                    <a16:creationId xmlns:a16="http://schemas.microsoft.com/office/drawing/2014/main" id="{8C129291-71D3-4243-AC84-A4ED03ED9EF2}"/>
                  </a:ext>
                </a:extLst>
              </p:cNvPr>
              <p:cNvSpPr>
                <a:spLocks/>
              </p:cNvSpPr>
              <p:nvPr/>
            </p:nvSpPr>
            <p:spPr bwMode="auto">
              <a:xfrm>
                <a:off x="8541" y="3671"/>
                <a:ext cx="23" cy="22"/>
              </a:xfrm>
              <a:custGeom>
                <a:avLst/>
                <a:gdLst>
                  <a:gd name="T0" fmla="*/ 0 w 23"/>
                  <a:gd name="T1" fmla="*/ 13 h 22"/>
                  <a:gd name="T2" fmla="*/ 13 w 23"/>
                  <a:gd name="T3" fmla="*/ 0 h 22"/>
                  <a:gd name="T4" fmla="*/ 23 w 23"/>
                  <a:gd name="T5" fmla="*/ 9 h 22"/>
                  <a:gd name="T6" fmla="*/ 10 w 23"/>
                  <a:gd name="T7" fmla="*/ 22 h 22"/>
                  <a:gd name="T8" fmla="*/ 0 w 23"/>
                  <a:gd name="T9" fmla="*/ 13 h 22"/>
                </a:gdLst>
                <a:ahLst/>
                <a:cxnLst>
                  <a:cxn ang="0">
                    <a:pos x="T0" y="T1"/>
                  </a:cxn>
                  <a:cxn ang="0">
                    <a:pos x="T2" y="T3"/>
                  </a:cxn>
                  <a:cxn ang="0">
                    <a:pos x="T4" y="T5"/>
                  </a:cxn>
                  <a:cxn ang="0">
                    <a:pos x="T6" y="T7"/>
                  </a:cxn>
                  <a:cxn ang="0">
                    <a:pos x="T8" y="T9"/>
                  </a:cxn>
                </a:cxnLst>
                <a:rect l="0" t="0" r="r" b="b"/>
                <a:pathLst>
                  <a:path w="23" h="22">
                    <a:moveTo>
                      <a:pt x="0" y="13"/>
                    </a:moveTo>
                    <a:lnTo>
                      <a:pt x="13" y="0"/>
                    </a:lnTo>
                    <a:lnTo>
                      <a:pt x="23" y="9"/>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22">
                <a:extLst>
                  <a:ext uri="{FF2B5EF4-FFF2-40B4-BE49-F238E27FC236}">
                    <a16:creationId xmlns:a16="http://schemas.microsoft.com/office/drawing/2014/main" id="{4EF22FDC-8414-4732-B7EE-6B5B69DD8E2A}"/>
                  </a:ext>
                </a:extLst>
              </p:cNvPr>
              <p:cNvSpPr>
                <a:spLocks/>
              </p:cNvSpPr>
              <p:nvPr/>
            </p:nvSpPr>
            <p:spPr bwMode="auto">
              <a:xfrm>
                <a:off x="8434" y="3568"/>
                <a:ext cx="22" cy="22"/>
              </a:xfrm>
              <a:custGeom>
                <a:avLst/>
                <a:gdLst>
                  <a:gd name="T0" fmla="*/ 0 w 22"/>
                  <a:gd name="T1" fmla="*/ 13 h 22"/>
                  <a:gd name="T2" fmla="*/ 13 w 22"/>
                  <a:gd name="T3" fmla="*/ 0 h 22"/>
                  <a:gd name="T4" fmla="*/ 22 w 22"/>
                  <a:gd name="T5" fmla="*/ 10 h 22"/>
                  <a:gd name="T6" fmla="*/ 10 w 22"/>
                  <a:gd name="T7" fmla="*/ 22 h 22"/>
                  <a:gd name="T8" fmla="*/ 0 w 22"/>
                  <a:gd name="T9" fmla="*/ 13 h 22"/>
                </a:gdLst>
                <a:ahLst/>
                <a:cxnLst>
                  <a:cxn ang="0">
                    <a:pos x="T0" y="T1"/>
                  </a:cxn>
                  <a:cxn ang="0">
                    <a:pos x="T2" y="T3"/>
                  </a:cxn>
                  <a:cxn ang="0">
                    <a:pos x="T4" y="T5"/>
                  </a:cxn>
                  <a:cxn ang="0">
                    <a:pos x="T6" y="T7"/>
                  </a:cxn>
                  <a:cxn ang="0">
                    <a:pos x="T8" y="T9"/>
                  </a:cxn>
                </a:cxnLst>
                <a:rect l="0" t="0" r="r" b="b"/>
                <a:pathLst>
                  <a:path w="22" h="22">
                    <a:moveTo>
                      <a:pt x="0" y="13"/>
                    </a:moveTo>
                    <a:lnTo>
                      <a:pt x="13" y="0"/>
                    </a:lnTo>
                    <a:lnTo>
                      <a:pt x="22" y="10"/>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23">
                <a:extLst>
                  <a:ext uri="{FF2B5EF4-FFF2-40B4-BE49-F238E27FC236}">
                    <a16:creationId xmlns:a16="http://schemas.microsoft.com/office/drawing/2014/main" id="{7A02CEE9-B845-42EC-B773-2316859587B8}"/>
                  </a:ext>
                </a:extLst>
              </p:cNvPr>
              <p:cNvSpPr>
                <a:spLocks noEditPoints="1"/>
              </p:cNvSpPr>
              <p:nvPr/>
            </p:nvSpPr>
            <p:spPr bwMode="auto">
              <a:xfrm>
                <a:off x="8423" y="3450"/>
                <a:ext cx="81" cy="80"/>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24">
                <a:extLst>
                  <a:ext uri="{FF2B5EF4-FFF2-40B4-BE49-F238E27FC236}">
                    <a16:creationId xmlns:a16="http://schemas.microsoft.com/office/drawing/2014/main" id="{DC940DE4-3A27-45F8-B869-8D6F8F0FB376}"/>
                  </a:ext>
                </a:extLst>
              </p:cNvPr>
              <p:cNvSpPr>
                <a:spLocks/>
              </p:cNvSpPr>
              <p:nvPr/>
            </p:nvSpPr>
            <p:spPr bwMode="auto">
              <a:xfrm>
                <a:off x="8458" y="3443"/>
                <a:ext cx="10" cy="9"/>
              </a:xfrm>
              <a:custGeom>
                <a:avLst/>
                <a:gdLst>
                  <a:gd name="T0" fmla="*/ 10 w 10"/>
                  <a:gd name="T1" fmla="*/ 8 h 9"/>
                  <a:gd name="T2" fmla="*/ 0 w 10"/>
                  <a:gd name="T3" fmla="*/ 9 h 9"/>
                  <a:gd name="T4" fmla="*/ 0 w 10"/>
                  <a:gd name="T5" fmla="*/ 1 h 9"/>
                  <a:gd name="T6" fmla="*/ 10 w 10"/>
                  <a:gd name="T7" fmla="*/ 0 h 9"/>
                  <a:gd name="T8" fmla="*/ 10 w 10"/>
                  <a:gd name="T9" fmla="*/ 8 h 9"/>
                </a:gdLst>
                <a:ahLst/>
                <a:cxnLst>
                  <a:cxn ang="0">
                    <a:pos x="T0" y="T1"/>
                  </a:cxn>
                  <a:cxn ang="0">
                    <a:pos x="T2" y="T3"/>
                  </a:cxn>
                  <a:cxn ang="0">
                    <a:pos x="T4" y="T5"/>
                  </a:cxn>
                  <a:cxn ang="0">
                    <a:pos x="T6" y="T7"/>
                  </a:cxn>
                  <a:cxn ang="0">
                    <a:pos x="T8" y="T9"/>
                  </a:cxn>
                </a:cxnLst>
                <a:rect l="0" t="0" r="r" b="b"/>
                <a:pathLst>
                  <a:path w="10" h="9">
                    <a:moveTo>
                      <a:pt x="10" y="8"/>
                    </a:moveTo>
                    <a:lnTo>
                      <a:pt x="0" y="9"/>
                    </a:lnTo>
                    <a:lnTo>
                      <a:pt x="0" y="1"/>
                    </a:lnTo>
                    <a:lnTo>
                      <a:pt x="10" y="0"/>
                    </a:lnTo>
                    <a:lnTo>
                      <a:pt x="1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25">
                <a:extLst>
                  <a:ext uri="{FF2B5EF4-FFF2-40B4-BE49-F238E27FC236}">
                    <a16:creationId xmlns:a16="http://schemas.microsoft.com/office/drawing/2014/main" id="{58E62927-7B87-4CA8-8BB5-AEC59852182C}"/>
                  </a:ext>
                </a:extLst>
              </p:cNvPr>
              <p:cNvSpPr>
                <a:spLocks/>
              </p:cNvSpPr>
              <p:nvPr/>
            </p:nvSpPr>
            <p:spPr bwMode="auto">
              <a:xfrm>
                <a:off x="8460" y="3528"/>
                <a:ext cx="10" cy="9"/>
              </a:xfrm>
              <a:custGeom>
                <a:avLst/>
                <a:gdLst>
                  <a:gd name="T0" fmla="*/ 10 w 10"/>
                  <a:gd name="T1" fmla="*/ 9 h 9"/>
                  <a:gd name="T2" fmla="*/ 0 w 10"/>
                  <a:gd name="T3" fmla="*/ 9 h 9"/>
                  <a:gd name="T4" fmla="*/ 0 w 10"/>
                  <a:gd name="T5" fmla="*/ 1 h 9"/>
                  <a:gd name="T6" fmla="*/ 10 w 10"/>
                  <a:gd name="T7" fmla="*/ 0 h 9"/>
                  <a:gd name="T8" fmla="*/ 10 w 10"/>
                  <a:gd name="T9" fmla="*/ 9 h 9"/>
                </a:gdLst>
                <a:ahLst/>
                <a:cxnLst>
                  <a:cxn ang="0">
                    <a:pos x="T0" y="T1"/>
                  </a:cxn>
                  <a:cxn ang="0">
                    <a:pos x="T2" y="T3"/>
                  </a:cxn>
                  <a:cxn ang="0">
                    <a:pos x="T4" y="T5"/>
                  </a:cxn>
                  <a:cxn ang="0">
                    <a:pos x="T6" y="T7"/>
                  </a:cxn>
                  <a:cxn ang="0">
                    <a:pos x="T8" y="T9"/>
                  </a:cxn>
                </a:cxnLst>
                <a:rect l="0" t="0" r="r" b="b"/>
                <a:pathLst>
                  <a:path w="10" h="9">
                    <a:moveTo>
                      <a:pt x="10" y="9"/>
                    </a:moveTo>
                    <a:lnTo>
                      <a:pt x="0" y="9"/>
                    </a:lnTo>
                    <a:lnTo>
                      <a:pt x="0" y="1"/>
                    </a:lnTo>
                    <a:lnTo>
                      <a:pt x="10" y="0"/>
                    </a:lnTo>
                    <a:lnTo>
                      <a:pt x="1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26">
                <a:extLst>
                  <a:ext uri="{FF2B5EF4-FFF2-40B4-BE49-F238E27FC236}">
                    <a16:creationId xmlns:a16="http://schemas.microsoft.com/office/drawing/2014/main" id="{1D5805AC-6205-4E30-999F-90A8623730B4}"/>
                  </a:ext>
                </a:extLst>
              </p:cNvPr>
              <p:cNvSpPr>
                <a:spLocks noChangeArrowheads="1"/>
              </p:cNvSpPr>
              <p:nvPr/>
            </p:nvSpPr>
            <p:spPr bwMode="auto">
              <a:xfrm>
                <a:off x="8502" y="3485"/>
                <a:ext cx="8" cy="1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27">
                <a:extLst>
                  <a:ext uri="{FF2B5EF4-FFF2-40B4-BE49-F238E27FC236}">
                    <a16:creationId xmlns:a16="http://schemas.microsoft.com/office/drawing/2014/main" id="{89950AE5-E513-4FFE-99EE-1D4C3D3151D1}"/>
                  </a:ext>
                </a:extLst>
              </p:cNvPr>
              <p:cNvSpPr>
                <a:spLocks/>
              </p:cNvSpPr>
              <p:nvPr/>
            </p:nvSpPr>
            <p:spPr bwMode="auto">
              <a:xfrm>
                <a:off x="8417" y="3485"/>
                <a:ext cx="9" cy="10"/>
              </a:xfrm>
              <a:custGeom>
                <a:avLst/>
                <a:gdLst>
                  <a:gd name="T0" fmla="*/ 8 w 9"/>
                  <a:gd name="T1" fmla="*/ 0 h 10"/>
                  <a:gd name="T2" fmla="*/ 9 w 9"/>
                  <a:gd name="T3" fmla="*/ 10 h 10"/>
                  <a:gd name="T4" fmla="*/ 0 w 9"/>
                  <a:gd name="T5" fmla="*/ 10 h 10"/>
                  <a:gd name="T6" fmla="*/ 0 w 9"/>
                  <a:gd name="T7" fmla="*/ 0 h 10"/>
                  <a:gd name="T8" fmla="*/ 8 w 9"/>
                  <a:gd name="T9" fmla="*/ 0 h 10"/>
                </a:gdLst>
                <a:ahLst/>
                <a:cxnLst>
                  <a:cxn ang="0">
                    <a:pos x="T0" y="T1"/>
                  </a:cxn>
                  <a:cxn ang="0">
                    <a:pos x="T2" y="T3"/>
                  </a:cxn>
                  <a:cxn ang="0">
                    <a:pos x="T4" y="T5"/>
                  </a:cxn>
                  <a:cxn ang="0">
                    <a:pos x="T6" y="T7"/>
                  </a:cxn>
                  <a:cxn ang="0">
                    <a:pos x="T8" y="T9"/>
                  </a:cxn>
                </a:cxnLst>
                <a:rect l="0" t="0" r="r" b="b"/>
                <a:pathLst>
                  <a:path w="9" h="10">
                    <a:moveTo>
                      <a:pt x="8" y="0"/>
                    </a:moveTo>
                    <a:lnTo>
                      <a:pt x="9" y="10"/>
                    </a:lnTo>
                    <a:lnTo>
                      <a:pt x="0" y="10"/>
                    </a:lnTo>
                    <a:lnTo>
                      <a:pt x="0" y="0"/>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28">
                <a:extLst>
                  <a:ext uri="{FF2B5EF4-FFF2-40B4-BE49-F238E27FC236}">
                    <a16:creationId xmlns:a16="http://schemas.microsoft.com/office/drawing/2014/main" id="{A8053584-936A-459B-BB15-E5E746ACF353}"/>
                  </a:ext>
                </a:extLst>
              </p:cNvPr>
              <p:cNvSpPr>
                <a:spLocks/>
              </p:cNvSpPr>
              <p:nvPr/>
            </p:nvSpPr>
            <p:spPr bwMode="auto">
              <a:xfrm>
                <a:off x="8428" y="3514"/>
                <a:ext cx="12" cy="13"/>
              </a:xfrm>
              <a:custGeom>
                <a:avLst/>
                <a:gdLst>
                  <a:gd name="T0" fmla="*/ 5 w 12"/>
                  <a:gd name="T1" fmla="*/ 0 h 13"/>
                  <a:gd name="T2" fmla="*/ 12 w 12"/>
                  <a:gd name="T3" fmla="*/ 7 h 13"/>
                  <a:gd name="T4" fmla="*/ 7 w 12"/>
                  <a:gd name="T5" fmla="*/ 13 h 13"/>
                  <a:gd name="T6" fmla="*/ 0 w 12"/>
                  <a:gd name="T7" fmla="*/ 5 h 13"/>
                  <a:gd name="T8" fmla="*/ 5 w 12"/>
                  <a:gd name="T9" fmla="*/ 0 h 13"/>
                </a:gdLst>
                <a:ahLst/>
                <a:cxnLst>
                  <a:cxn ang="0">
                    <a:pos x="T0" y="T1"/>
                  </a:cxn>
                  <a:cxn ang="0">
                    <a:pos x="T2" y="T3"/>
                  </a:cxn>
                  <a:cxn ang="0">
                    <a:pos x="T4" y="T5"/>
                  </a:cxn>
                  <a:cxn ang="0">
                    <a:pos x="T6" y="T7"/>
                  </a:cxn>
                  <a:cxn ang="0">
                    <a:pos x="T8" y="T9"/>
                  </a:cxn>
                </a:cxnLst>
                <a:rect l="0" t="0" r="r" b="b"/>
                <a:pathLst>
                  <a:path w="12" h="13">
                    <a:moveTo>
                      <a:pt x="5" y="0"/>
                    </a:moveTo>
                    <a:lnTo>
                      <a:pt x="12" y="7"/>
                    </a:lnTo>
                    <a:lnTo>
                      <a:pt x="7" y="13"/>
                    </a:lnTo>
                    <a:lnTo>
                      <a:pt x="0" y="5"/>
                    </a:lnTo>
                    <a:lnTo>
                      <a:pt x="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29">
                <a:extLst>
                  <a:ext uri="{FF2B5EF4-FFF2-40B4-BE49-F238E27FC236}">
                    <a16:creationId xmlns:a16="http://schemas.microsoft.com/office/drawing/2014/main" id="{C46D766C-24C0-4C21-97EF-EA62196CEC38}"/>
                  </a:ext>
                </a:extLst>
              </p:cNvPr>
              <p:cNvSpPr>
                <a:spLocks/>
              </p:cNvSpPr>
              <p:nvPr/>
            </p:nvSpPr>
            <p:spPr bwMode="auto">
              <a:xfrm>
                <a:off x="8487" y="3454"/>
                <a:ext cx="13" cy="12"/>
              </a:xfrm>
              <a:custGeom>
                <a:avLst/>
                <a:gdLst>
                  <a:gd name="T0" fmla="*/ 6 w 13"/>
                  <a:gd name="T1" fmla="*/ 0 h 12"/>
                  <a:gd name="T2" fmla="*/ 13 w 13"/>
                  <a:gd name="T3" fmla="*/ 7 h 12"/>
                  <a:gd name="T4" fmla="*/ 8 w 13"/>
                  <a:gd name="T5" fmla="*/ 12 h 12"/>
                  <a:gd name="T6" fmla="*/ 0 w 13"/>
                  <a:gd name="T7" fmla="*/ 5 h 12"/>
                  <a:gd name="T8" fmla="*/ 6 w 13"/>
                  <a:gd name="T9" fmla="*/ 0 h 12"/>
                </a:gdLst>
                <a:ahLst/>
                <a:cxnLst>
                  <a:cxn ang="0">
                    <a:pos x="T0" y="T1"/>
                  </a:cxn>
                  <a:cxn ang="0">
                    <a:pos x="T2" y="T3"/>
                  </a:cxn>
                  <a:cxn ang="0">
                    <a:pos x="T4" y="T5"/>
                  </a:cxn>
                  <a:cxn ang="0">
                    <a:pos x="T6" y="T7"/>
                  </a:cxn>
                  <a:cxn ang="0">
                    <a:pos x="T8" y="T9"/>
                  </a:cxn>
                </a:cxnLst>
                <a:rect l="0" t="0" r="r" b="b"/>
                <a:pathLst>
                  <a:path w="13" h="12">
                    <a:moveTo>
                      <a:pt x="6" y="0"/>
                    </a:moveTo>
                    <a:lnTo>
                      <a:pt x="13" y="7"/>
                    </a:lnTo>
                    <a:lnTo>
                      <a:pt x="8" y="12"/>
                    </a:lnTo>
                    <a:lnTo>
                      <a:pt x="0" y="5"/>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30">
                <a:extLst>
                  <a:ext uri="{FF2B5EF4-FFF2-40B4-BE49-F238E27FC236}">
                    <a16:creationId xmlns:a16="http://schemas.microsoft.com/office/drawing/2014/main" id="{7ECAA89E-D699-4289-8C2D-F423C33360DE}"/>
                  </a:ext>
                </a:extLst>
              </p:cNvPr>
              <p:cNvSpPr>
                <a:spLocks/>
              </p:cNvSpPr>
              <p:nvPr/>
            </p:nvSpPr>
            <p:spPr bwMode="auto">
              <a:xfrm>
                <a:off x="8488" y="3513"/>
                <a:ext cx="13" cy="13"/>
              </a:xfrm>
              <a:custGeom>
                <a:avLst/>
                <a:gdLst>
                  <a:gd name="T0" fmla="*/ 0 w 13"/>
                  <a:gd name="T1" fmla="*/ 8 h 13"/>
                  <a:gd name="T2" fmla="*/ 7 w 13"/>
                  <a:gd name="T3" fmla="*/ 0 h 13"/>
                  <a:gd name="T4" fmla="*/ 13 w 13"/>
                  <a:gd name="T5" fmla="*/ 6 h 13"/>
                  <a:gd name="T6" fmla="*/ 6 w 13"/>
                  <a:gd name="T7" fmla="*/ 13 h 13"/>
                  <a:gd name="T8" fmla="*/ 0 w 13"/>
                  <a:gd name="T9" fmla="*/ 8 h 13"/>
                </a:gdLst>
                <a:ahLst/>
                <a:cxnLst>
                  <a:cxn ang="0">
                    <a:pos x="T0" y="T1"/>
                  </a:cxn>
                  <a:cxn ang="0">
                    <a:pos x="T2" y="T3"/>
                  </a:cxn>
                  <a:cxn ang="0">
                    <a:pos x="T4" y="T5"/>
                  </a:cxn>
                  <a:cxn ang="0">
                    <a:pos x="T6" y="T7"/>
                  </a:cxn>
                  <a:cxn ang="0">
                    <a:pos x="T8" y="T9"/>
                  </a:cxn>
                </a:cxnLst>
                <a:rect l="0" t="0" r="r" b="b"/>
                <a:pathLst>
                  <a:path w="13" h="13">
                    <a:moveTo>
                      <a:pt x="0" y="8"/>
                    </a:moveTo>
                    <a:lnTo>
                      <a:pt x="7" y="0"/>
                    </a:lnTo>
                    <a:lnTo>
                      <a:pt x="13" y="6"/>
                    </a:lnTo>
                    <a:lnTo>
                      <a:pt x="6" y="13"/>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31">
                <a:extLst>
                  <a:ext uri="{FF2B5EF4-FFF2-40B4-BE49-F238E27FC236}">
                    <a16:creationId xmlns:a16="http://schemas.microsoft.com/office/drawing/2014/main" id="{77BF8A21-2C1E-44A6-8A51-1BDDA26B48AE}"/>
                  </a:ext>
                </a:extLst>
              </p:cNvPr>
              <p:cNvSpPr>
                <a:spLocks/>
              </p:cNvSpPr>
              <p:nvPr/>
            </p:nvSpPr>
            <p:spPr bwMode="auto">
              <a:xfrm>
                <a:off x="8427" y="3455"/>
                <a:ext cx="13" cy="12"/>
              </a:xfrm>
              <a:custGeom>
                <a:avLst/>
                <a:gdLst>
                  <a:gd name="T0" fmla="*/ 0 w 13"/>
                  <a:gd name="T1" fmla="*/ 7 h 12"/>
                  <a:gd name="T2" fmla="*/ 7 w 13"/>
                  <a:gd name="T3" fmla="*/ 0 h 12"/>
                  <a:gd name="T4" fmla="*/ 13 w 13"/>
                  <a:gd name="T5" fmla="*/ 5 h 12"/>
                  <a:gd name="T6" fmla="*/ 5 w 13"/>
                  <a:gd name="T7" fmla="*/ 12 h 12"/>
                  <a:gd name="T8" fmla="*/ 0 w 13"/>
                  <a:gd name="T9" fmla="*/ 7 h 12"/>
                </a:gdLst>
                <a:ahLst/>
                <a:cxnLst>
                  <a:cxn ang="0">
                    <a:pos x="T0" y="T1"/>
                  </a:cxn>
                  <a:cxn ang="0">
                    <a:pos x="T2" y="T3"/>
                  </a:cxn>
                  <a:cxn ang="0">
                    <a:pos x="T4" y="T5"/>
                  </a:cxn>
                  <a:cxn ang="0">
                    <a:pos x="T6" y="T7"/>
                  </a:cxn>
                  <a:cxn ang="0">
                    <a:pos x="T8" y="T9"/>
                  </a:cxn>
                </a:cxnLst>
                <a:rect l="0" t="0" r="r" b="b"/>
                <a:pathLst>
                  <a:path w="13" h="12">
                    <a:moveTo>
                      <a:pt x="0" y="7"/>
                    </a:moveTo>
                    <a:lnTo>
                      <a:pt x="7" y="0"/>
                    </a:lnTo>
                    <a:lnTo>
                      <a:pt x="13" y="5"/>
                    </a:lnTo>
                    <a:lnTo>
                      <a:pt x="5" y="12"/>
                    </a:lnTo>
                    <a:lnTo>
                      <a:pt x="0"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2" name="Group 21" descr="Reliability pillar diagram: check mark in decorative circle">
            <a:extLst>
              <a:ext uri="{FF2B5EF4-FFF2-40B4-BE49-F238E27FC236}">
                <a16:creationId xmlns:a16="http://schemas.microsoft.com/office/drawing/2014/main" id="{4D0A89FC-EC55-41F6-9310-E1EEA0F21DCE}"/>
              </a:ext>
            </a:extLst>
          </p:cNvPr>
          <p:cNvGrpSpPr/>
          <p:nvPr/>
        </p:nvGrpSpPr>
        <p:grpSpPr>
          <a:xfrm>
            <a:off x="7370434" y="3111545"/>
            <a:ext cx="1828800" cy="1945017"/>
            <a:chOff x="7370434" y="3133170"/>
            <a:chExt cx="1828800" cy="1945017"/>
          </a:xfrm>
        </p:grpSpPr>
        <p:sp>
          <p:nvSpPr>
            <p:cNvPr id="48" name="TextBox 47">
              <a:extLst>
                <a:ext uri="{FF2B5EF4-FFF2-40B4-BE49-F238E27FC236}">
                  <a16:creationId xmlns:a16="http://schemas.microsoft.com/office/drawing/2014/main" id="{F94525B6-83F5-47D5-A319-418B8604080F}"/>
                </a:ext>
              </a:extLst>
            </p:cNvPr>
            <p:cNvSpPr txBox="1"/>
            <p:nvPr/>
          </p:nvSpPr>
          <p:spPr>
            <a:xfrm>
              <a:off x="7370434" y="3133170"/>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liability</a:t>
              </a:r>
            </a:p>
          </p:txBody>
        </p:sp>
        <p:grpSp>
          <p:nvGrpSpPr>
            <p:cNvPr id="20" name="Group 19">
              <a:extLst>
                <a:ext uri="{FF2B5EF4-FFF2-40B4-BE49-F238E27FC236}">
                  <a16:creationId xmlns:a16="http://schemas.microsoft.com/office/drawing/2014/main" id="{501960E2-1291-47D0-AA7E-12FADC12CC93}"/>
                </a:ext>
              </a:extLst>
            </p:cNvPr>
            <p:cNvGrpSpPr/>
            <p:nvPr/>
          </p:nvGrpSpPr>
          <p:grpSpPr>
            <a:xfrm>
              <a:off x="7848417" y="4163787"/>
              <a:ext cx="872835" cy="914400"/>
              <a:chOff x="7848417" y="4163787"/>
              <a:chExt cx="872835" cy="914400"/>
            </a:xfrm>
          </p:grpSpPr>
          <p:sp>
            <p:nvSpPr>
              <p:cNvPr id="80" name="Graphic 4" descr="Badge Tick with solid fill">
                <a:extLst>
                  <a:ext uri="{FF2B5EF4-FFF2-40B4-BE49-F238E27FC236}">
                    <a16:creationId xmlns:a16="http://schemas.microsoft.com/office/drawing/2014/main" id="{2E171179-D47B-49F2-AF16-BDF0609A655C}"/>
                  </a:ext>
                </a:extLst>
              </p:cNvPr>
              <p:cNvSpPr/>
              <p:nvPr/>
            </p:nvSpPr>
            <p:spPr>
              <a:xfrm>
                <a:off x="8013813" y="4337054"/>
                <a:ext cx="542048" cy="567865"/>
              </a:xfrm>
              <a:custGeom>
                <a:avLst/>
                <a:gdLst>
                  <a:gd name="connsiteX0" fmla="*/ 219075 w 438149"/>
                  <a:gd name="connsiteY0" fmla="*/ 0 h 438150"/>
                  <a:gd name="connsiteX1" fmla="*/ 0 w 438149"/>
                  <a:gd name="connsiteY1" fmla="*/ 219075 h 438150"/>
                  <a:gd name="connsiteX2" fmla="*/ 219075 w 438149"/>
                  <a:gd name="connsiteY2" fmla="*/ 438150 h 438150"/>
                  <a:gd name="connsiteX3" fmla="*/ 438150 w 438149"/>
                  <a:gd name="connsiteY3" fmla="*/ 219075 h 438150"/>
                  <a:gd name="connsiteX4" fmla="*/ 219075 w 438149"/>
                  <a:gd name="connsiteY4" fmla="*/ 0 h 438150"/>
                  <a:gd name="connsiteX5" fmla="*/ 187928 w 438149"/>
                  <a:gd name="connsiteY5" fmla="*/ 308267 h 438150"/>
                  <a:gd name="connsiteX6" fmla="*/ 92459 w 438149"/>
                  <a:gd name="connsiteY6" fmla="*/ 212789 h 438150"/>
                  <a:gd name="connsiteX7" fmla="*/ 124901 w 438149"/>
                  <a:gd name="connsiteY7" fmla="*/ 180346 h 438150"/>
                  <a:gd name="connsiteX8" fmla="*/ 187928 w 438149"/>
                  <a:gd name="connsiteY8" fmla="*/ 243373 h 438150"/>
                  <a:gd name="connsiteX9" fmla="*/ 317011 w 438149"/>
                  <a:gd name="connsiteY9" fmla="*/ 114300 h 438150"/>
                  <a:gd name="connsiteX10" fmla="*/ 349453 w 438149"/>
                  <a:gd name="connsiteY10" fmla="*/ 146742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49" h="438150">
                    <a:moveTo>
                      <a:pt x="219075" y="0"/>
                    </a:moveTo>
                    <a:cubicBezTo>
                      <a:pt x="98084" y="0"/>
                      <a:pt x="0" y="98084"/>
                      <a:pt x="0" y="219075"/>
                    </a:cubicBezTo>
                    <a:cubicBezTo>
                      <a:pt x="0" y="340066"/>
                      <a:pt x="98084" y="438150"/>
                      <a:pt x="219075" y="438150"/>
                    </a:cubicBezTo>
                    <a:cubicBezTo>
                      <a:pt x="340067" y="438150"/>
                      <a:pt x="438150" y="340066"/>
                      <a:pt x="438150" y="219075"/>
                    </a:cubicBezTo>
                    <a:cubicBezTo>
                      <a:pt x="438014" y="98140"/>
                      <a:pt x="340010" y="136"/>
                      <a:pt x="219075" y="0"/>
                    </a:cubicBezTo>
                    <a:close/>
                    <a:moveTo>
                      <a:pt x="187928" y="308267"/>
                    </a:moveTo>
                    <a:lnTo>
                      <a:pt x="92459" y="212789"/>
                    </a:lnTo>
                    <a:lnTo>
                      <a:pt x="124901" y="180346"/>
                    </a:lnTo>
                    <a:lnTo>
                      <a:pt x="187928" y="243373"/>
                    </a:lnTo>
                    <a:lnTo>
                      <a:pt x="317011" y="114300"/>
                    </a:lnTo>
                    <a:lnTo>
                      <a:pt x="349453" y="146742"/>
                    </a:lnTo>
                    <a:close/>
                  </a:path>
                </a:pathLst>
              </a:custGeom>
              <a:solidFill>
                <a:srgbClr val="0078D4"/>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Graphic 4" descr="Badge Tick with solid fill">
                <a:extLst>
                  <a:ext uri="{FF2B5EF4-FFF2-40B4-BE49-F238E27FC236}">
                    <a16:creationId xmlns:a16="http://schemas.microsoft.com/office/drawing/2014/main" id="{8D73324E-1DF1-48AF-9EEC-305D156DBE07}"/>
                  </a:ext>
                </a:extLst>
              </p:cNvPr>
              <p:cNvSpPr/>
              <p:nvPr/>
            </p:nvSpPr>
            <p:spPr>
              <a:xfrm>
                <a:off x="7848417" y="4163787"/>
                <a:ext cx="872835" cy="914400"/>
              </a:xfrm>
              <a:custGeom>
                <a:avLst/>
                <a:gdLst>
                  <a:gd name="connsiteX0" fmla="*/ 677762 w 705532"/>
                  <a:gd name="connsiteY0" fmla="*/ 364812 h 705526"/>
                  <a:gd name="connsiteX1" fmla="*/ 677762 w 705532"/>
                  <a:gd name="connsiteY1" fmla="*/ 340714 h 705526"/>
                  <a:gd name="connsiteX2" fmla="*/ 701232 w 705532"/>
                  <a:gd name="connsiteY2" fmla="*/ 311958 h 705526"/>
                  <a:gd name="connsiteX3" fmla="*/ 698533 w 705532"/>
                  <a:gd name="connsiteY3" fmla="*/ 285153 h 705526"/>
                  <a:gd name="connsiteX4" fmla="*/ 696793 w 705532"/>
                  <a:gd name="connsiteY4" fmla="*/ 283888 h 705526"/>
                  <a:gd name="connsiteX5" fmla="*/ 665580 w 705532"/>
                  <a:gd name="connsiteY5" fmla="*/ 263790 h 705526"/>
                  <a:gd name="connsiteX6" fmla="*/ 658131 w 705532"/>
                  <a:gd name="connsiteY6" fmla="*/ 240882 h 705526"/>
                  <a:gd name="connsiteX7" fmla="*/ 671571 w 705532"/>
                  <a:gd name="connsiteY7" fmla="*/ 206269 h 705526"/>
                  <a:gd name="connsiteX8" fmla="*/ 660712 w 705532"/>
                  <a:gd name="connsiteY8" fmla="*/ 181613 h 705526"/>
                  <a:gd name="connsiteX9" fmla="*/ 658674 w 705532"/>
                  <a:gd name="connsiteY9" fmla="*/ 180951 h 705526"/>
                  <a:gd name="connsiteX10" fmla="*/ 622774 w 705532"/>
                  <a:gd name="connsiteY10" fmla="*/ 171483 h 705526"/>
                  <a:gd name="connsiteX11" fmla="*/ 608611 w 705532"/>
                  <a:gd name="connsiteY11" fmla="*/ 151995 h 705526"/>
                  <a:gd name="connsiteX12" fmla="*/ 610697 w 705532"/>
                  <a:gd name="connsiteY12" fmla="*/ 114924 h 705526"/>
                  <a:gd name="connsiteX13" fmla="*/ 592745 w 705532"/>
                  <a:gd name="connsiteY13" fmla="*/ 94836 h 705526"/>
                  <a:gd name="connsiteX14" fmla="*/ 590608 w 705532"/>
                  <a:gd name="connsiteY14" fmla="*/ 94836 h 705526"/>
                  <a:gd name="connsiteX15" fmla="*/ 553537 w 705532"/>
                  <a:gd name="connsiteY15" fmla="*/ 96922 h 705526"/>
                  <a:gd name="connsiteX16" fmla="*/ 534049 w 705532"/>
                  <a:gd name="connsiteY16" fmla="*/ 82758 h 705526"/>
                  <a:gd name="connsiteX17" fmla="*/ 524581 w 705532"/>
                  <a:gd name="connsiteY17" fmla="*/ 46858 h 705526"/>
                  <a:gd name="connsiteX18" fmla="*/ 501301 w 705532"/>
                  <a:gd name="connsiteY18" fmla="*/ 33299 h 705526"/>
                  <a:gd name="connsiteX19" fmla="*/ 499264 w 705532"/>
                  <a:gd name="connsiteY19" fmla="*/ 33961 h 705526"/>
                  <a:gd name="connsiteX20" fmla="*/ 464650 w 705532"/>
                  <a:gd name="connsiteY20" fmla="*/ 47401 h 705526"/>
                  <a:gd name="connsiteX21" fmla="*/ 441742 w 705532"/>
                  <a:gd name="connsiteY21" fmla="*/ 39953 h 705526"/>
                  <a:gd name="connsiteX22" fmla="*/ 421644 w 705532"/>
                  <a:gd name="connsiteY22" fmla="*/ 8739 h 705526"/>
                  <a:gd name="connsiteX23" fmla="*/ 395315 w 705532"/>
                  <a:gd name="connsiteY23" fmla="*/ 3036 h 705526"/>
                  <a:gd name="connsiteX24" fmla="*/ 393574 w 705532"/>
                  <a:gd name="connsiteY24" fmla="*/ 4300 h 705526"/>
                  <a:gd name="connsiteX25" fmla="*/ 364818 w 705532"/>
                  <a:gd name="connsiteY25" fmla="*/ 27770 h 705526"/>
                  <a:gd name="connsiteX26" fmla="*/ 340720 w 705532"/>
                  <a:gd name="connsiteY26" fmla="*/ 27770 h 705526"/>
                  <a:gd name="connsiteX27" fmla="*/ 311964 w 705532"/>
                  <a:gd name="connsiteY27" fmla="*/ 4300 h 705526"/>
                  <a:gd name="connsiteX28" fmla="*/ 285159 w 705532"/>
                  <a:gd name="connsiteY28" fmla="*/ 6999 h 705526"/>
                  <a:gd name="connsiteX29" fmla="*/ 283894 w 705532"/>
                  <a:gd name="connsiteY29" fmla="*/ 8739 h 705526"/>
                  <a:gd name="connsiteX30" fmla="*/ 263796 w 705532"/>
                  <a:gd name="connsiteY30" fmla="*/ 39953 h 705526"/>
                  <a:gd name="connsiteX31" fmla="*/ 240889 w 705532"/>
                  <a:gd name="connsiteY31" fmla="*/ 47401 h 705526"/>
                  <a:gd name="connsiteX32" fmla="*/ 206275 w 705532"/>
                  <a:gd name="connsiteY32" fmla="*/ 33961 h 705526"/>
                  <a:gd name="connsiteX33" fmla="*/ 181619 w 705532"/>
                  <a:gd name="connsiteY33" fmla="*/ 44821 h 705526"/>
                  <a:gd name="connsiteX34" fmla="*/ 180957 w 705532"/>
                  <a:gd name="connsiteY34" fmla="*/ 46858 h 705526"/>
                  <a:gd name="connsiteX35" fmla="*/ 171489 w 705532"/>
                  <a:gd name="connsiteY35" fmla="*/ 82758 h 705526"/>
                  <a:gd name="connsiteX36" fmla="*/ 152001 w 705532"/>
                  <a:gd name="connsiteY36" fmla="*/ 96922 h 705526"/>
                  <a:gd name="connsiteX37" fmla="*/ 114930 w 705532"/>
                  <a:gd name="connsiteY37" fmla="*/ 94836 h 705526"/>
                  <a:gd name="connsiteX38" fmla="*/ 94842 w 705532"/>
                  <a:gd name="connsiteY38" fmla="*/ 112787 h 705526"/>
                  <a:gd name="connsiteX39" fmla="*/ 94842 w 705532"/>
                  <a:gd name="connsiteY39" fmla="*/ 114924 h 705526"/>
                  <a:gd name="connsiteX40" fmla="*/ 96928 w 705532"/>
                  <a:gd name="connsiteY40" fmla="*/ 151995 h 705526"/>
                  <a:gd name="connsiteX41" fmla="*/ 82764 w 705532"/>
                  <a:gd name="connsiteY41" fmla="*/ 171483 h 705526"/>
                  <a:gd name="connsiteX42" fmla="*/ 46864 w 705532"/>
                  <a:gd name="connsiteY42" fmla="*/ 180951 h 705526"/>
                  <a:gd name="connsiteX43" fmla="*/ 33305 w 705532"/>
                  <a:gd name="connsiteY43" fmla="*/ 204231 h 705526"/>
                  <a:gd name="connsiteX44" fmla="*/ 33967 w 705532"/>
                  <a:gd name="connsiteY44" fmla="*/ 206269 h 705526"/>
                  <a:gd name="connsiteX45" fmla="*/ 47407 w 705532"/>
                  <a:gd name="connsiteY45" fmla="*/ 240882 h 705526"/>
                  <a:gd name="connsiteX46" fmla="*/ 39959 w 705532"/>
                  <a:gd name="connsiteY46" fmla="*/ 263790 h 705526"/>
                  <a:gd name="connsiteX47" fmla="*/ 8745 w 705532"/>
                  <a:gd name="connsiteY47" fmla="*/ 283888 h 705526"/>
                  <a:gd name="connsiteX48" fmla="*/ 3031 w 705532"/>
                  <a:gd name="connsiteY48" fmla="*/ 310216 h 705526"/>
                  <a:gd name="connsiteX49" fmla="*/ 4297 w 705532"/>
                  <a:gd name="connsiteY49" fmla="*/ 311958 h 705526"/>
                  <a:gd name="connsiteX50" fmla="*/ 27776 w 705532"/>
                  <a:gd name="connsiteY50" fmla="*/ 340714 h 705526"/>
                  <a:gd name="connsiteX51" fmla="*/ 27776 w 705532"/>
                  <a:gd name="connsiteY51" fmla="*/ 364812 h 705526"/>
                  <a:gd name="connsiteX52" fmla="*/ 4297 w 705532"/>
                  <a:gd name="connsiteY52" fmla="*/ 393568 h 705526"/>
                  <a:gd name="connsiteX53" fmla="*/ 7003 w 705532"/>
                  <a:gd name="connsiteY53" fmla="*/ 420372 h 705526"/>
                  <a:gd name="connsiteX54" fmla="*/ 8745 w 705532"/>
                  <a:gd name="connsiteY54" fmla="*/ 421638 h 705526"/>
                  <a:gd name="connsiteX55" fmla="*/ 39959 w 705532"/>
                  <a:gd name="connsiteY55" fmla="*/ 441736 h 705526"/>
                  <a:gd name="connsiteX56" fmla="*/ 47407 w 705532"/>
                  <a:gd name="connsiteY56" fmla="*/ 464644 h 705526"/>
                  <a:gd name="connsiteX57" fmla="*/ 33967 w 705532"/>
                  <a:gd name="connsiteY57" fmla="*/ 499258 h 705526"/>
                  <a:gd name="connsiteX58" fmla="*/ 44827 w 705532"/>
                  <a:gd name="connsiteY58" fmla="*/ 523913 h 705526"/>
                  <a:gd name="connsiteX59" fmla="*/ 46864 w 705532"/>
                  <a:gd name="connsiteY59" fmla="*/ 524575 h 705526"/>
                  <a:gd name="connsiteX60" fmla="*/ 82764 w 705532"/>
                  <a:gd name="connsiteY60" fmla="*/ 534043 h 705526"/>
                  <a:gd name="connsiteX61" fmla="*/ 96928 w 705532"/>
                  <a:gd name="connsiteY61" fmla="*/ 553531 h 705526"/>
                  <a:gd name="connsiteX62" fmla="*/ 94842 w 705532"/>
                  <a:gd name="connsiteY62" fmla="*/ 590602 h 705526"/>
                  <a:gd name="connsiteX63" fmla="*/ 112793 w 705532"/>
                  <a:gd name="connsiteY63" fmla="*/ 610691 h 705526"/>
                  <a:gd name="connsiteX64" fmla="*/ 114930 w 705532"/>
                  <a:gd name="connsiteY64" fmla="*/ 610691 h 705526"/>
                  <a:gd name="connsiteX65" fmla="*/ 152001 w 705532"/>
                  <a:gd name="connsiteY65" fmla="*/ 608605 h 705526"/>
                  <a:gd name="connsiteX66" fmla="*/ 171489 w 705532"/>
                  <a:gd name="connsiteY66" fmla="*/ 622768 h 705526"/>
                  <a:gd name="connsiteX67" fmla="*/ 180957 w 705532"/>
                  <a:gd name="connsiteY67" fmla="*/ 658668 h 705526"/>
                  <a:gd name="connsiteX68" fmla="*/ 204237 w 705532"/>
                  <a:gd name="connsiteY68" fmla="*/ 672227 h 705526"/>
                  <a:gd name="connsiteX69" fmla="*/ 206275 w 705532"/>
                  <a:gd name="connsiteY69" fmla="*/ 671565 h 705526"/>
                  <a:gd name="connsiteX70" fmla="*/ 240889 w 705532"/>
                  <a:gd name="connsiteY70" fmla="*/ 658125 h 705526"/>
                  <a:gd name="connsiteX71" fmla="*/ 263796 w 705532"/>
                  <a:gd name="connsiteY71" fmla="*/ 665574 h 705526"/>
                  <a:gd name="connsiteX72" fmla="*/ 283894 w 705532"/>
                  <a:gd name="connsiteY72" fmla="*/ 696787 h 705526"/>
                  <a:gd name="connsiteX73" fmla="*/ 310224 w 705532"/>
                  <a:gd name="connsiteY73" fmla="*/ 702491 h 705526"/>
                  <a:gd name="connsiteX74" fmla="*/ 311964 w 705532"/>
                  <a:gd name="connsiteY74" fmla="*/ 701226 h 705526"/>
                  <a:gd name="connsiteX75" fmla="*/ 340720 w 705532"/>
                  <a:gd name="connsiteY75" fmla="*/ 677756 h 705526"/>
                  <a:gd name="connsiteX76" fmla="*/ 364818 w 705532"/>
                  <a:gd name="connsiteY76" fmla="*/ 677756 h 705526"/>
                  <a:gd name="connsiteX77" fmla="*/ 393574 w 705532"/>
                  <a:gd name="connsiteY77" fmla="*/ 701226 h 705526"/>
                  <a:gd name="connsiteX78" fmla="*/ 420380 w 705532"/>
                  <a:gd name="connsiteY78" fmla="*/ 698527 h 705526"/>
                  <a:gd name="connsiteX79" fmla="*/ 421644 w 705532"/>
                  <a:gd name="connsiteY79" fmla="*/ 696787 h 705526"/>
                  <a:gd name="connsiteX80" fmla="*/ 441742 w 705532"/>
                  <a:gd name="connsiteY80" fmla="*/ 665574 h 705526"/>
                  <a:gd name="connsiteX81" fmla="*/ 464650 w 705532"/>
                  <a:gd name="connsiteY81" fmla="*/ 658125 h 705526"/>
                  <a:gd name="connsiteX82" fmla="*/ 499264 w 705532"/>
                  <a:gd name="connsiteY82" fmla="*/ 671565 h 705526"/>
                  <a:gd name="connsiteX83" fmla="*/ 523919 w 705532"/>
                  <a:gd name="connsiteY83" fmla="*/ 660705 h 705526"/>
                  <a:gd name="connsiteX84" fmla="*/ 524581 w 705532"/>
                  <a:gd name="connsiteY84" fmla="*/ 658668 h 705526"/>
                  <a:gd name="connsiteX85" fmla="*/ 534049 w 705532"/>
                  <a:gd name="connsiteY85" fmla="*/ 622768 h 705526"/>
                  <a:gd name="connsiteX86" fmla="*/ 553537 w 705532"/>
                  <a:gd name="connsiteY86" fmla="*/ 608605 h 705526"/>
                  <a:gd name="connsiteX87" fmla="*/ 590608 w 705532"/>
                  <a:gd name="connsiteY87" fmla="*/ 610691 h 705526"/>
                  <a:gd name="connsiteX88" fmla="*/ 610697 w 705532"/>
                  <a:gd name="connsiteY88" fmla="*/ 592739 h 705526"/>
                  <a:gd name="connsiteX89" fmla="*/ 610697 w 705532"/>
                  <a:gd name="connsiteY89" fmla="*/ 590602 h 705526"/>
                  <a:gd name="connsiteX90" fmla="*/ 608611 w 705532"/>
                  <a:gd name="connsiteY90" fmla="*/ 553531 h 705526"/>
                  <a:gd name="connsiteX91" fmla="*/ 622774 w 705532"/>
                  <a:gd name="connsiteY91" fmla="*/ 534043 h 705526"/>
                  <a:gd name="connsiteX92" fmla="*/ 658674 w 705532"/>
                  <a:gd name="connsiteY92" fmla="*/ 524575 h 705526"/>
                  <a:gd name="connsiteX93" fmla="*/ 672233 w 705532"/>
                  <a:gd name="connsiteY93" fmla="*/ 501295 h 705526"/>
                  <a:gd name="connsiteX94" fmla="*/ 671571 w 705532"/>
                  <a:gd name="connsiteY94" fmla="*/ 499258 h 705526"/>
                  <a:gd name="connsiteX95" fmla="*/ 658131 w 705532"/>
                  <a:gd name="connsiteY95" fmla="*/ 464644 h 705526"/>
                  <a:gd name="connsiteX96" fmla="*/ 665580 w 705532"/>
                  <a:gd name="connsiteY96" fmla="*/ 441736 h 705526"/>
                  <a:gd name="connsiteX97" fmla="*/ 696793 w 705532"/>
                  <a:gd name="connsiteY97" fmla="*/ 421638 h 705526"/>
                  <a:gd name="connsiteX98" fmla="*/ 702497 w 705532"/>
                  <a:gd name="connsiteY98" fmla="*/ 395308 h 705526"/>
                  <a:gd name="connsiteX99" fmla="*/ 701232 w 705532"/>
                  <a:gd name="connsiteY99" fmla="*/ 393568 h 705526"/>
                  <a:gd name="connsiteX100" fmla="*/ 352769 w 705532"/>
                  <a:gd name="connsiteY100" fmla="*/ 600413 h 705526"/>
                  <a:gd name="connsiteX101" fmla="*/ 105119 w 705532"/>
                  <a:gd name="connsiteY101" fmla="*/ 352763 h 705526"/>
                  <a:gd name="connsiteX102" fmla="*/ 352769 w 705532"/>
                  <a:gd name="connsiteY102" fmla="*/ 105113 h 705526"/>
                  <a:gd name="connsiteX103" fmla="*/ 600419 w 705532"/>
                  <a:gd name="connsiteY103" fmla="*/ 352763 h 705526"/>
                  <a:gd name="connsiteX104" fmla="*/ 352769 w 705532"/>
                  <a:gd name="connsiteY104" fmla="*/ 600413 h 7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05532" h="705526">
                    <a:moveTo>
                      <a:pt x="677762" y="364812"/>
                    </a:moveTo>
                    <a:cubicBezTo>
                      <a:pt x="672036" y="357800"/>
                      <a:pt x="672036" y="347726"/>
                      <a:pt x="677762" y="340714"/>
                    </a:cubicBezTo>
                    <a:lnTo>
                      <a:pt x="701232" y="311958"/>
                    </a:lnTo>
                    <a:cubicBezTo>
                      <a:pt x="707889" y="303810"/>
                      <a:pt x="706680" y="291810"/>
                      <a:pt x="698533" y="285153"/>
                    </a:cubicBezTo>
                    <a:cubicBezTo>
                      <a:pt x="697977" y="284698"/>
                      <a:pt x="697396" y="284276"/>
                      <a:pt x="696793" y="283888"/>
                    </a:cubicBezTo>
                    <a:lnTo>
                      <a:pt x="665580" y="263790"/>
                    </a:lnTo>
                    <a:cubicBezTo>
                      <a:pt x="657971" y="258892"/>
                      <a:pt x="654858" y="249318"/>
                      <a:pt x="658131" y="240882"/>
                    </a:cubicBezTo>
                    <a:lnTo>
                      <a:pt x="671571" y="206269"/>
                    </a:lnTo>
                    <a:cubicBezTo>
                      <a:pt x="675381" y="196462"/>
                      <a:pt x="670518" y="185423"/>
                      <a:pt x="660712" y="181613"/>
                    </a:cubicBezTo>
                    <a:cubicBezTo>
                      <a:pt x="660046" y="181355"/>
                      <a:pt x="659366" y="181133"/>
                      <a:pt x="658674" y="180951"/>
                    </a:cubicBezTo>
                    <a:lnTo>
                      <a:pt x="622774" y="171483"/>
                    </a:lnTo>
                    <a:cubicBezTo>
                      <a:pt x="614024" y="169176"/>
                      <a:pt x="608104" y="161031"/>
                      <a:pt x="608611" y="151995"/>
                    </a:cubicBezTo>
                    <a:lnTo>
                      <a:pt x="610697" y="114924"/>
                    </a:lnTo>
                    <a:cubicBezTo>
                      <a:pt x="611286" y="104420"/>
                      <a:pt x="603249" y="95425"/>
                      <a:pt x="592745" y="94836"/>
                    </a:cubicBezTo>
                    <a:cubicBezTo>
                      <a:pt x="592033" y="94796"/>
                      <a:pt x="591320" y="94796"/>
                      <a:pt x="590608" y="94836"/>
                    </a:cubicBezTo>
                    <a:lnTo>
                      <a:pt x="553537" y="96922"/>
                    </a:lnTo>
                    <a:cubicBezTo>
                      <a:pt x="544502" y="97428"/>
                      <a:pt x="536356" y="91508"/>
                      <a:pt x="534049" y="82758"/>
                    </a:cubicBezTo>
                    <a:lnTo>
                      <a:pt x="524581" y="46858"/>
                    </a:lnTo>
                    <a:cubicBezTo>
                      <a:pt x="521897" y="36685"/>
                      <a:pt x="511474" y="30615"/>
                      <a:pt x="501301" y="33299"/>
                    </a:cubicBezTo>
                    <a:cubicBezTo>
                      <a:pt x="500611" y="33481"/>
                      <a:pt x="499930" y="33702"/>
                      <a:pt x="499264" y="33961"/>
                    </a:cubicBezTo>
                    <a:lnTo>
                      <a:pt x="464650" y="47401"/>
                    </a:lnTo>
                    <a:cubicBezTo>
                      <a:pt x="456214" y="50674"/>
                      <a:pt x="446640" y="47560"/>
                      <a:pt x="441742" y="39953"/>
                    </a:cubicBezTo>
                    <a:lnTo>
                      <a:pt x="421644" y="8739"/>
                    </a:lnTo>
                    <a:cubicBezTo>
                      <a:pt x="415949" y="-107"/>
                      <a:pt x="404160" y="-2660"/>
                      <a:pt x="395315" y="3036"/>
                    </a:cubicBezTo>
                    <a:cubicBezTo>
                      <a:pt x="394711" y="3424"/>
                      <a:pt x="394130" y="3846"/>
                      <a:pt x="393574" y="4300"/>
                    </a:cubicBezTo>
                    <a:lnTo>
                      <a:pt x="364818" y="27770"/>
                    </a:lnTo>
                    <a:cubicBezTo>
                      <a:pt x="357806" y="33496"/>
                      <a:pt x="347732" y="33496"/>
                      <a:pt x="340720" y="27770"/>
                    </a:cubicBezTo>
                    <a:lnTo>
                      <a:pt x="311964" y="4300"/>
                    </a:lnTo>
                    <a:cubicBezTo>
                      <a:pt x="303816" y="-2357"/>
                      <a:pt x="291816" y="-1148"/>
                      <a:pt x="285159" y="6999"/>
                    </a:cubicBezTo>
                    <a:cubicBezTo>
                      <a:pt x="284705" y="7555"/>
                      <a:pt x="284283" y="8136"/>
                      <a:pt x="283894" y="8739"/>
                    </a:cubicBezTo>
                    <a:lnTo>
                      <a:pt x="263796" y="39953"/>
                    </a:lnTo>
                    <a:cubicBezTo>
                      <a:pt x="258898" y="47560"/>
                      <a:pt x="249324" y="50674"/>
                      <a:pt x="240889" y="47401"/>
                    </a:cubicBezTo>
                    <a:lnTo>
                      <a:pt x="206275" y="33961"/>
                    </a:lnTo>
                    <a:cubicBezTo>
                      <a:pt x="196468" y="30151"/>
                      <a:pt x="185429" y="35014"/>
                      <a:pt x="181619" y="44821"/>
                    </a:cubicBezTo>
                    <a:cubicBezTo>
                      <a:pt x="181361" y="45487"/>
                      <a:pt x="181139" y="46167"/>
                      <a:pt x="180957" y="46858"/>
                    </a:cubicBezTo>
                    <a:lnTo>
                      <a:pt x="171489" y="82758"/>
                    </a:lnTo>
                    <a:cubicBezTo>
                      <a:pt x="169182" y="91508"/>
                      <a:pt x="161037" y="97428"/>
                      <a:pt x="152001" y="96922"/>
                    </a:cubicBezTo>
                    <a:lnTo>
                      <a:pt x="114930" y="94836"/>
                    </a:lnTo>
                    <a:cubicBezTo>
                      <a:pt x="104426" y="94246"/>
                      <a:pt x="95431" y="102283"/>
                      <a:pt x="94842" y="112787"/>
                    </a:cubicBezTo>
                    <a:cubicBezTo>
                      <a:pt x="94802" y="113499"/>
                      <a:pt x="94802" y="114212"/>
                      <a:pt x="94842" y="114924"/>
                    </a:cubicBezTo>
                    <a:lnTo>
                      <a:pt x="96928" y="151995"/>
                    </a:lnTo>
                    <a:cubicBezTo>
                      <a:pt x="97434" y="161031"/>
                      <a:pt x="91515" y="169176"/>
                      <a:pt x="82764" y="171483"/>
                    </a:cubicBezTo>
                    <a:lnTo>
                      <a:pt x="46864" y="180951"/>
                    </a:lnTo>
                    <a:cubicBezTo>
                      <a:pt x="36692" y="183635"/>
                      <a:pt x="30621" y="194058"/>
                      <a:pt x="33305" y="204231"/>
                    </a:cubicBezTo>
                    <a:cubicBezTo>
                      <a:pt x="33487" y="204922"/>
                      <a:pt x="33708" y="205603"/>
                      <a:pt x="33967" y="206269"/>
                    </a:cubicBezTo>
                    <a:lnTo>
                      <a:pt x="47407" y="240882"/>
                    </a:lnTo>
                    <a:cubicBezTo>
                      <a:pt x="50680" y="249319"/>
                      <a:pt x="47566" y="258892"/>
                      <a:pt x="39959" y="263790"/>
                    </a:cubicBezTo>
                    <a:lnTo>
                      <a:pt x="8745" y="283888"/>
                    </a:lnTo>
                    <a:cubicBezTo>
                      <a:pt x="-103" y="289580"/>
                      <a:pt x="-2661" y="301368"/>
                      <a:pt x="3031" y="310216"/>
                    </a:cubicBezTo>
                    <a:cubicBezTo>
                      <a:pt x="3420" y="310820"/>
                      <a:pt x="3843" y="311402"/>
                      <a:pt x="4297" y="311958"/>
                    </a:cubicBezTo>
                    <a:lnTo>
                      <a:pt x="27776" y="340714"/>
                    </a:lnTo>
                    <a:cubicBezTo>
                      <a:pt x="33503" y="347726"/>
                      <a:pt x="33503" y="357800"/>
                      <a:pt x="27776" y="364812"/>
                    </a:cubicBezTo>
                    <a:lnTo>
                      <a:pt x="4297" y="393568"/>
                    </a:lnTo>
                    <a:cubicBezTo>
                      <a:pt x="-2358" y="401717"/>
                      <a:pt x="-1146" y="413718"/>
                      <a:pt x="7003" y="420372"/>
                    </a:cubicBezTo>
                    <a:cubicBezTo>
                      <a:pt x="7559" y="420827"/>
                      <a:pt x="8141" y="421250"/>
                      <a:pt x="8745" y="421638"/>
                    </a:cubicBezTo>
                    <a:lnTo>
                      <a:pt x="39959" y="441736"/>
                    </a:lnTo>
                    <a:cubicBezTo>
                      <a:pt x="47566" y="446634"/>
                      <a:pt x="50680" y="456208"/>
                      <a:pt x="47407" y="464644"/>
                    </a:cubicBezTo>
                    <a:lnTo>
                      <a:pt x="33967" y="499258"/>
                    </a:lnTo>
                    <a:cubicBezTo>
                      <a:pt x="30157" y="509064"/>
                      <a:pt x="35020" y="520103"/>
                      <a:pt x="44827" y="523913"/>
                    </a:cubicBezTo>
                    <a:cubicBezTo>
                      <a:pt x="45493" y="524171"/>
                      <a:pt x="46173" y="524393"/>
                      <a:pt x="46864" y="524575"/>
                    </a:cubicBezTo>
                    <a:lnTo>
                      <a:pt x="82764" y="534043"/>
                    </a:lnTo>
                    <a:cubicBezTo>
                      <a:pt x="91515" y="536350"/>
                      <a:pt x="97434" y="544496"/>
                      <a:pt x="96928" y="553531"/>
                    </a:cubicBezTo>
                    <a:lnTo>
                      <a:pt x="94842" y="590602"/>
                    </a:lnTo>
                    <a:cubicBezTo>
                      <a:pt x="94252" y="601106"/>
                      <a:pt x="102289" y="610101"/>
                      <a:pt x="112793" y="610691"/>
                    </a:cubicBezTo>
                    <a:cubicBezTo>
                      <a:pt x="113505" y="610731"/>
                      <a:pt x="114218" y="610731"/>
                      <a:pt x="114930" y="610691"/>
                    </a:cubicBezTo>
                    <a:lnTo>
                      <a:pt x="152001" y="608605"/>
                    </a:lnTo>
                    <a:cubicBezTo>
                      <a:pt x="161037" y="608098"/>
                      <a:pt x="169182" y="614018"/>
                      <a:pt x="171489" y="622768"/>
                    </a:cubicBezTo>
                    <a:lnTo>
                      <a:pt x="180957" y="658668"/>
                    </a:lnTo>
                    <a:cubicBezTo>
                      <a:pt x="183641" y="668841"/>
                      <a:pt x="194065" y="674911"/>
                      <a:pt x="204237" y="672227"/>
                    </a:cubicBezTo>
                    <a:cubicBezTo>
                      <a:pt x="204928" y="672045"/>
                      <a:pt x="205609" y="671824"/>
                      <a:pt x="206275" y="671565"/>
                    </a:cubicBezTo>
                    <a:lnTo>
                      <a:pt x="240889" y="658125"/>
                    </a:lnTo>
                    <a:cubicBezTo>
                      <a:pt x="249324" y="654852"/>
                      <a:pt x="258898" y="657966"/>
                      <a:pt x="263796" y="665574"/>
                    </a:cubicBezTo>
                    <a:lnTo>
                      <a:pt x="283894" y="696787"/>
                    </a:lnTo>
                    <a:cubicBezTo>
                      <a:pt x="289590" y="705633"/>
                      <a:pt x="301378" y="708187"/>
                      <a:pt x="310224" y="702491"/>
                    </a:cubicBezTo>
                    <a:cubicBezTo>
                      <a:pt x="310828" y="702102"/>
                      <a:pt x="311409" y="701680"/>
                      <a:pt x="311964" y="701226"/>
                    </a:cubicBezTo>
                    <a:lnTo>
                      <a:pt x="340720" y="677756"/>
                    </a:lnTo>
                    <a:cubicBezTo>
                      <a:pt x="347732" y="672030"/>
                      <a:pt x="357806" y="672030"/>
                      <a:pt x="364818" y="677756"/>
                    </a:cubicBezTo>
                    <a:lnTo>
                      <a:pt x="393574" y="701226"/>
                    </a:lnTo>
                    <a:cubicBezTo>
                      <a:pt x="401722" y="707883"/>
                      <a:pt x="413723" y="706674"/>
                      <a:pt x="420380" y="698527"/>
                    </a:cubicBezTo>
                    <a:cubicBezTo>
                      <a:pt x="420834" y="697971"/>
                      <a:pt x="421256" y="697390"/>
                      <a:pt x="421644" y="696787"/>
                    </a:cubicBezTo>
                    <a:lnTo>
                      <a:pt x="441742" y="665574"/>
                    </a:lnTo>
                    <a:cubicBezTo>
                      <a:pt x="446640" y="657966"/>
                      <a:pt x="456215" y="654852"/>
                      <a:pt x="464650" y="658125"/>
                    </a:cubicBezTo>
                    <a:lnTo>
                      <a:pt x="499264" y="671565"/>
                    </a:lnTo>
                    <a:cubicBezTo>
                      <a:pt x="509071" y="675375"/>
                      <a:pt x="520109" y="670512"/>
                      <a:pt x="523919" y="660705"/>
                    </a:cubicBezTo>
                    <a:cubicBezTo>
                      <a:pt x="524177" y="660040"/>
                      <a:pt x="524399" y="659359"/>
                      <a:pt x="524581" y="658668"/>
                    </a:cubicBezTo>
                    <a:lnTo>
                      <a:pt x="534049" y="622768"/>
                    </a:lnTo>
                    <a:cubicBezTo>
                      <a:pt x="536356" y="614018"/>
                      <a:pt x="544502" y="608098"/>
                      <a:pt x="553537" y="608605"/>
                    </a:cubicBezTo>
                    <a:lnTo>
                      <a:pt x="590608" y="610691"/>
                    </a:lnTo>
                    <a:cubicBezTo>
                      <a:pt x="601113" y="611280"/>
                      <a:pt x="610107" y="603243"/>
                      <a:pt x="610697" y="592739"/>
                    </a:cubicBezTo>
                    <a:cubicBezTo>
                      <a:pt x="610737" y="592027"/>
                      <a:pt x="610737" y="591314"/>
                      <a:pt x="610697" y="590602"/>
                    </a:cubicBezTo>
                    <a:lnTo>
                      <a:pt x="608611" y="553531"/>
                    </a:lnTo>
                    <a:cubicBezTo>
                      <a:pt x="608104" y="544496"/>
                      <a:pt x="614024" y="536350"/>
                      <a:pt x="622774" y="534043"/>
                    </a:cubicBezTo>
                    <a:lnTo>
                      <a:pt x="658674" y="524575"/>
                    </a:lnTo>
                    <a:cubicBezTo>
                      <a:pt x="668847" y="521891"/>
                      <a:pt x="674917" y="511468"/>
                      <a:pt x="672233" y="501295"/>
                    </a:cubicBezTo>
                    <a:cubicBezTo>
                      <a:pt x="672051" y="500604"/>
                      <a:pt x="671830" y="499923"/>
                      <a:pt x="671571" y="499258"/>
                    </a:cubicBezTo>
                    <a:lnTo>
                      <a:pt x="658131" y="464644"/>
                    </a:lnTo>
                    <a:cubicBezTo>
                      <a:pt x="654858" y="456207"/>
                      <a:pt x="657972" y="446634"/>
                      <a:pt x="665580" y="441736"/>
                    </a:cubicBezTo>
                    <a:lnTo>
                      <a:pt x="696793" y="421638"/>
                    </a:lnTo>
                    <a:cubicBezTo>
                      <a:pt x="705639" y="415942"/>
                      <a:pt x="708193" y="404154"/>
                      <a:pt x="702497" y="395308"/>
                    </a:cubicBezTo>
                    <a:cubicBezTo>
                      <a:pt x="702108" y="394704"/>
                      <a:pt x="701686" y="394123"/>
                      <a:pt x="701232" y="393568"/>
                    </a:cubicBezTo>
                    <a:close/>
                    <a:moveTo>
                      <a:pt x="352769" y="600413"/>
                    </a:moveTo>
                    <a:cubicBezTo>
                      <a:pt x="215996" y="600413"/>
                      <a:pt x="105119" y="489536"/>
                      <a:pt x="105119" y="352763"/>
                    </a:cubicBezTo>
                    <a:cubicBezTo>
                      <a:pt x="105119" y="215990"/>
                      <a:pt x="215996" y="105113"/>
                      <a:pt x="352769" y="105113"/>
                    </a:cubicBezTo>
                    <a:cubicBezTo>
                      <a:pt x="489542" y="105113"/>
                      <a:pt x="600419" y="215990"/>
                      <a:pt x="600419" y="352763"/>
                    </a:cubicBezTo>
                    <a:cubicBezTo>
                      <a:pt x="600267" y="489473"/>
                      <a:pt x="489480" y="600261"/>
                      <a:pt x="352769" y="600413"/>
                    </a:cubicBezTo>
                    <a:close/>
                  </a:path>
                </a:pathLst>
              </a:custGeom>
              <a:solidFill>
                <a:schemeClr val="bg1"/>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23" name="Group 22" descr="Security pillar diagram: lock">
            <a:extLst>
              <a:ext uri="{FF2B5EF4-FFF2-40B4-BE49-F238E27FC236}">
                <a16:creationId xmlns:a16="http://schemas.microsoft.com/office/drawing/2014/main" id="{EEEE7AC0-6DE9-4576-8DE8-FD1476601EBC}"/>
              </a:ext>
            </a:extLst>
          </p:cNvPr>
          <p:cNvGrpSpPr/>
          <p:nvPr/>
        </p:nvGrpSpPr>
        <p:grpSpPr>
          <a:xfrm>
            <a:off x="9513355" y="3111545"/>
            <a:ext cx="1828800" cy="1945017"/>
            <a:chOff x="9513355" y="3133170"/>
            <a:chExt cx="1828800" cy="1945017"/>
          </a:xfrm>
        </p:grpSpPr>
        <p:sp>
          <p:nvSpPr>
            <p:cNvPr id="49" name="TextBox 48">
              <a:extLst>
                <a:ext uri="{FF2B5EF4-FFF2-40B4-BE49-F238E27FC236}">
                  <a16:creationId xmlns:a16="http://schemas.microsoft.com/office/drawing/2014/main" id="{79E56159-3905-4F4D-9280-2B69DC4ABFBF}"/>
                </a:ext>
              </a:extLst>
            </p:cNvPr>
            <p:cNvSpPr txBox="1"/>
            <p:nvPr/>
          </p:nvSpPr>
          <p:spPr>
            <a:xfrm>
              <a:off x="9513355" y="3133170"/>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a:t>
              </a:r>
            </a:p>
          </p:txBody>
        </p:sp>
        <p:grpSp>
          <p:nvGrpSpPr>
            <p:cNvPr id="67" name="Group 66">
              <a:extLst>
                <a:ext uri="{FF2B5EF4-FFF2-40B4-BE49-F238E27FC236}">
                  <a16:creationId xmlns:a16="http://schemas.microsoft.com/office/drawing/2014/main" id="{9D84BA09-7A9D-4534-894F-AF5B9EEC108A}"/>
                </a:ext>
              </a:extLst>
            </p:cNvPr>
            <p:cNvGrpSpPr/>
            <p:nvPr/>
          </p:nvGrpSpPr>
          <p:grpSpPr>
            <a:xfrm>
              <a:off x="10056627" y="4163787"/>
              <a:ext cx="742256" cy="914400"/>
              <a:chOff x="10056627" y="4163787"/>
              <a:chExt cx="742256" cy="914400"/>
            </a:xfrm>
          </p:grpSpPr>
          <p:sp>
            <p:nvSpPr>
              <p:cNvPr id="83" name="Freeform: Shape 82">
                <a:extLst>
                  <a:ext uri="{FF2B5EF4-FFF2-40B4-BE49-F238E27FC236}">
                    <a16:creationId xmlns:a16="http://schemas.microsoft.com/office/drawing/2014/main" id="{F35EFA38-0125-45E9-836E-CB97311466B4}"/>
                  </a:ext>
                </a:extLst>
              </p:cNvPr>
              <p:cNvSpPr>
                <a:spLocks noChangeAspect="1"/>
              </p:cNvSpPr>
              <p:nvPr/>
            </p:nvSpPr>
            <p:spPr>
              <a:xfrm>
                <a:off x="10056627" y="4163787"/>
                <a:ext cx="742256" cy="914400"/>
              </a:xfrm>
              <a:custGeom>
                <a:avLst/>
                <a:gdLst>
                  <a:gd name="connsiteX0" fmla="*/ 335422 w 670458"/>
                  <a:gd name="connsiteY0" fmla="*/ 77361 h 825952"/>
                  <a:gd name="connsiteX1" fmla="*/ 155108 w 670458"/>
                  <a:gd name="connsiteY1" fmla="*/ 257675 h 825952"/>
                  <a:gd name="connsiteX2" fmla="*/ 155108 w 670458"/>
                  <a:gd name="connsiteY2" fmla="*/ 336002 h 825952"/>
                  <a:gd name="connsiteX3" fmla="*/ 515737 w 670458"/>
                  <a:gd name="connsiteY3" fmla="*/ 336002 h 825952"/>
                  <a:gd name="connsiteX4" fmla="*/ 515737 w 670458"/>
                  <a:gd name="connsiteY4" fmla="*/ 262897 h 825952"/>
                  <a:gd name="connsiteX5" fmla="*/ 348960 w 670458"/>
                  <a:gd name="connsiteY5" fmla="*/ 77876 h 825952"/>
                  <a:gd name="connsiteX6" fmla="*/ 335422 w 670458"/>
                  <a:gd name="connsiteY6" fmla="*/ 77361 h 825952"/>
                  <a:gd name="connsiteX7" fmla="*/ 335422 w 670458"/>
                  <a:gd name="connsiteY7" fmla="*/ 0 h 825952"/>
                  <a:gd name="connsiteX8" fmla="*/ 354569 w 670458"/>
                  <a:gd name="connsiteY8" fmla="*/ 709 h 825952"/>
                  <a:gd name="connsiteX9" fmla="*/ 593097 w 670458"/>
                  <a:gd name="connsiteY9" fmla="*/ 262897 h 825952"/>
                  <a:gd name="connsiteX10" fmla="*/ 593097 w 670458"/>
                  <a:gd name="connsiteY10" fmla="*/ 336002 h 825952"/>
                  <a:gd name="connsiteX11" fmla="*/ 670458 w 670458"/>
                  <a:gd name="connsiteY11" fmla="*/ 336002 h 825952"/>
                  <a:gd name="connsiteX12" fmla="*/ 670394 w 670458"/>
                  <a:gd name="connsiteY12" fmla="*/ 825952 h 825952"/>
                  <a:gd name="connsiteX13" fmla="*/ 0 w 670458"/>
                  <a:gd name="connsiteY13" fmla="*/ 825952 h 825952"/>
                  <a:gd name="connsiteX14" fmla="*/ 0 w 670458"/>
                  <a:gd name="connsiteY14" fmla="*/ 336002 h 825952"/>
                  <a:gd name="connsiteX15" fmla="*/ 77747 w 670458"/>
                  <a:gd name="connsiteY15" fmla="*/ 336002 h 825952"/>
                  <a:gd name="connsiteX16" fmla="*/ 77747 w 670458"/>
                  <a:gd name="connsiteY16" fmla="*/ 257675 h 825952"/>
                  <a:gd name="connsiteX17" fmla="*/ 335422 w 670458"/>
                  <a:gd name="connsiteY17" fmla="*/ 0 h 82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458" h="825952">
                    <a:moveTo>
                      <a:pt x="335422" y="77361"/>
                    </a:moveTo>
                    <a:cubicBezTo>
                      <a:pt x="235949" y="77361"/>
                      <a:pt x="155108" y="158267"/>
                      <a:pt x="155108" y="257675"/>
                    </a:cubicBezTo>
                    <a:lnTo>
                      <a:pt x="155108" y="336002"/>
                    </a:lnTo>
                    <a:lnTo>
                      <a:pt x="515737" y="336002"/>
                    </a:lnTo>
                    <a:lnTo>
                      <a:pt x="515737" y="262897"/>
                    </a:lnTo>
                    <a:cubicBezTo>
                      <a:pt x="515737" y="165874"/>
                      <a:pt x="442502" y="84581"/>
                      <a:pt x="348960" y="77876"/>
                    </a:cubicBezTo>
                    <a:cubicBezTo>
                      <a:pt x="344447" y="77554"/>
                      <a:pt x="339935" y="77361"/>
                      <a:pt x="335422" y="77361"/>
                    </a:cubicBezTo>
                    <a:close/>
                    <a:moveTo>
                      <a:pt x="335422" y="0"/>
                    </a:moveTo>
                    <a:cubicBezTo>
                      <a:pt x="341740" y="0"/>
                      <a:pt x="348122" y="258"/>
                      <a:pt x="354569" y="709"/>
                    </a:cubicBezTo>
                    <a:cubicBezTo>
                      <a:pt x="490014" y="10444"/>
                      <a:pt x="593097" y="127065"/>
                      <a:pt x="593097" y="262897"/>
                    </a:cubicBezTo>
                    <a:lnTo>
                      <a:pt x="593097" y="336002"/>
                    </a:lnTo>
                    <a:lnTo>
                      <a:pt x="670458" y="336002"/>
                    </a:lnTo>
                    <a:lnTo>
                      <a:pt x="670394" y="825952"/>
                    </a:lnTo>
                    <a:lnTo>
                      <a:pt x="0" y="825952"/>
                    </a:lnTo>
                    <a:lnTo>
                      <a:pt x="0" y="336002"/>
                    </a:lnTo>
                    <a:lnTo>
                      <a:pt x="77747" y="336002"/>
                    </a:lnTo>
                    <a:lnTo>
                      <a:pt x="77747" y="257675"/>
                    </a:lnTo>
                    <a:cubicBezTo>
                      <a:pt x="77747" y="115396"/>
                      <a:pt x="193079" y="0"/>
                      <a:pt x="335422" y="0"/>
                    </a:cubicBezTo>
                    <a:close/>
                  </a:path>
                </a:pathLst>
              </a:custGeom>
              <a:solidFill>
                <a:srgbClr val="0078D3"/>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BF1821F-255A-40EA-897C-767CBC94E4D9}"/>
                  </a:ext>
                </a:extLst>
              </p:cNvPr>
              <p:cNvSpPr/>
              <p:nvPr/>
            </p:nvSpPr>
            <p:spPr>
              <a:xfrm>
                <a:off x="10342110" y="4677513"/>
                <a:ext cx="171290" cy="171431"/>
              </a:xfrm>
              <a:custGeom>
                <a:avLst/>
                <a:gdLst>
                  <a:gd name="connsiteX0" fmla="*/ 154721 w 154721"/>
                  <a:gd name="connsiteY0" fmla="*/ 76587 h 154849"/>
                  <a:gd name="connsiteX1" fmla="*/ 154721 w 154721"/>
                  <a:gd name="connsiteY1" fmla="*/ 78327 h 154849"/>
                  <a:gd name="connsiteX2" fmla="*/ 78199 w 154721"/>
                  <a:gd name="connsiteY2" fmla="*/ 154850 h 154849"/>
                  <a:gd name="connsiteX3" fmla="*/ 76458 w 154721"/>
                  <a:gd name="connsiteY3" fmla="*/ 154850 h 154849"/>
                  <a:gd name="connsiteX4" fmla="*/ 0 w 154721"/>
                  <a:gd name="connsiteY4" fmla="*/ 78263 h 154849"/>
                  <a:gd name="connsiteX5" fmla="*/ 0 w 154721"/>
                  <a:gd name="connsiteY5" fmla="*/ 76522 h 154849"/>
                  <a:gd name="connsiteX6" fmla="*/ 76522 w 154721"/>
                  <a:gd name="connsiteY6" fmla="*/ 0 h 154849"/>
                  <a:gd name="connsiteX7" fmla="*/ 78263 w 154721"/>
                  <a:gd name="connsiteY7" fmla="*/ 0 h 154849"/>
                  <a:gd name="connsiteX8" fmla="*/ 154721 w 154721"/>
                  <a:gd name="connsiteY8" fmla="*/ 76587 h 15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21" h="154849">
                    <a:moveTo>
                      <a:pt x="154721" y="76587"/>
                    </a:moveTo>
                    <a:lnTo>
                      <a:pt x="154721" y="78327"/>
                    </a:lnTo>
                    <a:cubicBezTo>
                      <a:pt x="154721" y="120553"/>
                      <a:pt x="120489" y="154850"/>
                      <a:pt x="78199" y="154850"/>
                    </a:cubicBezTo>
                    <a:lnTo>
                      <a:pt x="76458" y="154850"/>
                    </a:lnTo>
                    <a:cubicBezTo>
                      <a:pt x="34232" y="154785"/>
                      <a:pt x="0" y="120553"/>
                      <a:pt x="0" y="78263"/>
                    </a:cubicBezTo>
                    <a:lnTo>
                      <a:pt x="0" y="76522"/>
                    </a:lnTo>
                    <a:cubicBezTo>
                      <a:pt x="0" y="34296"/>
                      <a:pt x="34232" y="0"/>
                      <a:pt x="76522" y="0"/>
                    </a:cubicBezTo>
                    <a:lnTo>
                      <a:pt x="78263" y="0"/>
                    </a:lnTo>
                    <a:cubicBezTo>
                      <a:pt x="120489" y="64"/>
                      <a:pt x="154721" y="34296"/>
                      <a:pt x="154721" y="76587"/>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A66E58B0-2F43-4E7C-B5A9-CE272B95CFA1}"/>
                  </a:ext>
                </a:extLst>
              </p:cNvPr>
              <p:cNvSpPr/>
              <p:nvPr/>
            </p:nvSpPr>
            <p:spPr>
              <a:xfrm>
                <a:off x="10385004" y="4764228"/>
                <a:ext cx="85574" cy="199766"/>
              </a:xfrm>
              <a:custGeom>
                <a:avLst/>
                <a:gdLst>
                  <a:gd name="connsiteX0" fmla="*/ 38938 w 77296"/>
                  <a:gd name="connsiteY0" fmla="*/ 180443 h 180443"/>
                  <a:gd name="connsiteX1" fmla="*/ 38358 w 77296"/>
                  <a:gd name="connsiteY1" fmla="*/ 180443 h 180443"/>
                  <a:gd name="connsiteX2" fmla="*/ 0 w 77296"/>
                  <a:gd name="connsiteY2" fmla="*/ 142086 h 180443"/>
                  <a:gd name="connsiteX3" fmla="*/ 0 w 77296"/>
                  <a:gd name="connsiteY3" fmla="*/ 38358 h 180443"/>
                  <a:gd name="connsiteX4" fmla="*/ 38358 w 77296"/>
                  <a:gd name="connsiteY4" fmla="*/ 0 h 180443"/>
                  <a:gd name="connsiteX5" fmla="*/ 38938 w 77296"/>
                  <a:gd name="connsiteY5" fmla="*/ 0 h 180443"/>
                  <a:gd name="connsiteX6" fmla="*/ 77296 w 77296"/>
                  <a:gd name="connsiteY6" fmla="*/ 38358 h 180443"/>
                  <a:gd name="connsiteX7" fmla="*/ 77296 w 77296"/>
                  <a:gd name="connsiteY7" fmla="*/ 142086 h 180443"/>
                  <a:gd name="connsiteX8" fmla="*/ 38938 w 77296"/>
                  <a:gd name="connsiteY8" fmla="*/ 180443 h 18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6" h="180443">
                    <a:moveTo>
                      <a:pt x="38938" y="180443"/>
                    </a:moveTo>
                    <a:lnTo>
                      <a:pt x="38358" y="180443"/>
                    </a:lnTo>
                    <a:cubicBezTo>
                      <a:pt x="17148" y="180443"/>
                      <a:pt x="0" y="163231"/>
                      <a:pt x="0" y="142086"/>
                    </a:cubicBezTo>
                    <a:lnTo>
                      <a:pt x="0" y="38358"/>
                    </a:lnTo>
                    <a:cubicBezTo>
                      <a:pt x="0" y="17148"/>
                      <a:pt x="17213" y="0"/>
                      <a:pt x="38358" y="0"/>
                    </a:cubicBezTo>
                    <a:lnTo>
                      <a:pt x="38938" y="0"/>
                    </a:lnTo>
                    <a:cubicBezTo>
                      <a:pt x="60148" y="0"/>
                      <a:pt x="77296" y="17213"/>
                      <a:pt x="77296" y="38358"/>
                    </a:cubicBezTo>
                    <a:lnTo>
                      <a:pt x="77296" y="142086"/>
                    </a:lnTo>
                    <a:cubicBezTo>
                      <a:pt x="77296" y="163295"/>
                      <a:pt x="60083" y="180443"/>
                      <a:pt x="38938" y="180443"/>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7" name="TextBox 6">
            <a:extLst>
              <a:ext uri="{FF2B5EF4-FFF2-40B4-BE49-F238E27FC236}">
                <a16:creationId xmlns:a16="http://schemas.microsoft.com/office/drawing/2014/main" id="{72211803-2C90-4CEB-998C-1D68912817B0}"/>
              </a:ext>
            </a:extLst>
          </p:cNvPr>
          <p:cNvSpPr txBox="1"/>
          <p:nvPr/>
        </p:nvSpPr>
        <p:spPr>
          <a:xfrm>
            <a:off x="550613" y="6121825"/>
            <a:ext cx="4913841" cy="3693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5"/>
              </a:rPr>
              <a:t>https://aka.ms/well</a:t>
            </a:r>
            <a:r>
              <a:rPr kumimoji="0" lang="en-US" sz="1765"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5"/>
              </a:rPr>
              <a:t>architected/framework</a:t>
            </a:r>
            <a:endParaRPr kumimoji="0" lang="en-US" sz="1765"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6091567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667380" y="637519"/>
            <a:ext cx="11336039" cy="744014"/>
          </a:xfrm>
        </p:spPr>
        <p:txBody>
          <a:bodyPr>
            <a:normAutofit/>
          </a:bodyPr>
          <a:lstStyle/>
          <a:p>
            <a:r>
              <a:rPr lang="en-US" sz="3600" b="1">
                <a:solidFill>
                  <a:srgbClr val="4FE7FF"/>
                </a:solidFill>
                <a:latin typeface="Segoe UI Semibold" panose="020B0702040204020203" pitchFamily="34" charset="0"/>
                <a:cs typeface="Segoe UI Semibold" panose="020B0702040204020203" pitchFamily="34" charset="0"/>
              </a:rPr>
              <a:t>Best practices to drive workload quality</a:t>
            </a:r>
          </a:p>
        </p:txBody>
      </p:sp>
      <p:sp>
        <p:nvSpPr>
          <p:cNvPr id="34" name="TextBox 33">
            <a:extLst>
              <a:ext uri="{FF2B5EF4-FFF2-40B4-BE49-F238E27FC236}">
                <a16:creationId xmlns:a16="http://schemas.microsoft.com/office/drawing/2014/main" id="{5F0F4B90-7518-4D1C-BAB0-AC9E0FDB0EBE}"/>
              </a:ext>
            </a:extLst>
          </p:cNvPr>
          <p:cNvSpPr txBox="1"/>
          <p:nvPr/>
        </p:nvSpPr>
        <p:spPr>
          <a:xfrm>
            <a:off x="573155" y="1609031"/>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st Optimization</a:t>
            </a:r>
          </a:p>
        </p:txBody>
      </p:sp>
      <p:pic>
        <p:nvPicPr>
          <p:cNvPr id="87" name="Picture 86" descr="Cost optimization pillar diagram: dollar sign in a circle">
            <a:extLst>
              <a:ext uri="{FF2B5EF4-FFF2-40B4-BE49-F238E27FC236}">
                <a16:creationId xmlns:a16="http://schemas.microsoft.com/office/drawing/2014/main" id="{399AC23B-F1A3-489E-B379-E3FA62E031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3351" y="2525680"/>
            <a:ext cx="948409" cy="94840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920D86F-B3A5-445B-AC2F-22F213FC88AB}"/>
              </a:ext>
            </a:extLst>
          </p:cNvPr>
          <p:cNvSpPr txBox="1"/>
          <p:nvPr/>
        </p:nvSpPr>
        <p:spPr>
          <a:xfrm>
            <a:off x="435995" y="3904732"/>
            <a:ext cx="2103120"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zure Hybrid Benefi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serve Instanc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utdow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siz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ve to PAAS</a:t>
            </a:r>
          </a:p>
        </p:txBody>
      </p:sp>
      <p:sp>
        <p:nvSpPr>
          <p:cNvPr id="37" name="TextBox 36">
            <a:extLst>
              <a:ext uri="{FF2B5EF4-FFF2-40B4-BE49-F238E27FC236}">
                <a16:creationId xmlns:a16="http://schemas.microsoft.com/office/drawing/2014/main" id="{8E3CCF26-DB01-4421-84E9-FCF1F8FBC781}"/>
              </a:ext>
            </a:extLst>
          </p:cNvPr>
          <p:cNvSpPr txBox="1"/>
          <p:nvPr/>
        </p:nvSpPr>
        <p:spPr>
          <a:xfrm>
            <a:off x="2903855" y="1609031"/>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perational Excellence</a:t>
            </a:r>
          </a:p>
        </p:txBody>
      </p:sp>
      <p:grpSp>
        <p:nvGrpSpPr>
          <p:cNvPr id="76" name="Group 34" descr="Operation excellence pillar diagram: gauge">
            <a:extLst>
              <a:ext uri="{FF2B5EF4-FFF2-40B4-BE49-F238E27FC236}">
                <a16:creationId xmlns:a16="http://schemas.microsoft.com/office/drawing/2014/main" id="{766E7D0B-8D09-4028-AE42-11D3D775B4ED}"/>
              </a:ext>
            </a:extLst>
          </p:cNvPr>
          <p:cNvGrpSpPr>
            <a:grpSpLocks noChangeAspect="1"/>
          </p:cNvGrpSpPr>
          <p:nvPr/>
        </p:nvGrpSpPr>
        <p:grpSpPr bwMode="auto">
          <a:xfrm>
            <a:off x="3387462" y="2525680"/>
            <a:ext cx="987425" cy="820737"/>
            <a:chOff x="3572" y="2719"/>
            <a:chExt cx="622" cy="517"/>
          </a:xfrm>
        </p:grpSpPr>
        <p:sp>
          <p:nvSpPr>
            <p:cNvPr id="77" name="AutoShape 33">
              <a:extLst>
                <a:ext uri="{FF2B5EF4-FFF2-40B4-BE49-F238E27FC236}">
                  <a16:creationId xmlns:a16="http://schemas.microsoft.com/office/drawing/2014/main" id="{DDA7B467-44CE-491F-928A-8F14C505EFB0}"/>
                </a:ext>
              </a:extLst>
            </p:cNvPr>
            <p:cNvSpPr>
              <a:spLocks noChangeAspect="1" noChangeArrowheads="1" noTextEdit="1"/>
            </p:cNvSpPr>
            <p:nvPr/>
          </p:nvSpPr>
          <p:spPr bwMode="auto">
            <a:xfrm>
              <a:off x="3572" y="2719"/>
              <a:ext cx="622" cy="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35">
              <a:extLst>
                <a:ext uri="{FF2B5EF4-FFF2-40B4-BE49-F238E27FC236}">
                  <a16:creationId xmlns:a16="http://schemas.microsoft.com/office/drawing/2014/main" id="{47B91B37-06DB-4D6F-9EF8-591BF315C07C}"/>
                </a:ext>
              </a:extLst>
            </p:cNvPr>
            <p:cNvSpPr>
              <a:spLocks/>
            </p:cNvSpPr>
            <p:nvPr/>
          </p:nvSpPr>
          <p:spPr bwMode="auto">
            <a:xfrm>
              <a:off x="4194" y="30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6">
              <a:extLst>
                <a:ext uri="{FF2B5EF4-FFF2-40B4-BE49-F238E27FC236}">
                  <a16:creationId xmlns:a16="http://schemas.microsoft.com/office/drawing/2014/main" id="{1543E354-D414-4355-BCFC-AAD7AF76325C}"/>
                </a:ext>
              </a:extLst>
            </p:cNvPr>
            <p:cNvSpPr>
              <a:spLocks/>
            </p:cNvSpPr>
            <p:nvPr/>
          </p:nvSpPr>
          <p:spPr bwMode="auto">
            <a:xfrm>
              <a:off x="4075" y="3050"/>
              <a:ext cx="119" cy="186"/>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37">
              <a:extLst>
                <a:ext uri="{FF2B5EF4-FFF2-40B4-BE49-F238E27FC236}">
                  <a16:creationId xmlns:a16="http://schemas.microsoft.com/office/drawing/2014/main" id="{BAA37BEE-E693-44E2-9E81-3F9B4B2E162C}"/>
                </a:ext>
              </a:extLst>
            </p:cNvPr>
            <p:cNvSpPr>
              <a:spLocks/>
            </p:cNvSpPr>
            <p:nvPr/>
          </p:nvSpPr>
          <p:spPr bwMode="auto">
            <a:xfrm>
              <a:off x="4075" y="2825"/>
              <a:ext cx="119" cy="186"/>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38">
              <a:extLst>
                <a:ext uri="{FF2B5EF4-FFF2-40B4-BE49-F238E27FC236}">
                  <a16:creationId xmlns:a16="http://schemas.microsoft.com/office/drawing/2014/main" id="{FB37856A-64D1-45CA-93B0-B416C789C673}"/>
                </a:ext>
              </a:extLst>
            </p:cNvPr>
            <p:cNvSpPr>
              <a:spLocks/>
            </p:cNvSpPr>
            <p:nvPr/>
          </p:nvSpPr>
          <p:spPr bwMode="auto">
            <a:xfrm>
              <a:off x="3902" y="2719"/>
              <a:ext cx="187" cy="119"/>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39">
              <a:extLst>
                <a:ext uri="{FF2B5EF4-FFF2-40B4-BE49-F238E27FC236}">
                  <a16:creationId xmlns:a16="http://schemas.microsoft.com/office/drawing/2014/main" id="{2EFA0C2A-31CF-46D3-94A1-7A896D62C13A}"/>
                </a:ext>
              </a:extLst>
            </p:cNvPr>
            <p:cNvSpPr>
              <a:spLocks/>
            </p:cNvSpPr>
            <p:nvPr/>
          </p:nvSpPr>
          <p:spPr bwMode="auto">
            <a:xfrm>
              <a:off x="3677" y="2719"/>
              <a:ext cx="187" cy="119"/>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40">
              <a:extLst>
                <a:ext uri="{FF2B5EF4-FFF2-40B4-BE49-F238E27FC236}">
                  <a16:creationId xmlns:a16="http://schemas.microsoft.com/office/drawing/2014/main" id="{CDC20584-05F2-4D88-A79B-3DFE28FC861A}"/>
                </a:ext>
              </a:extLst>
            </p:cNvPr>
            <p:cNvSpPr>
              <a:spLocks/>
            </p:cNvSpPr>
            <p:nvPr/>
          </p:nvSpPr>
          <p:spPr bwMode="auto">
            <a:xfrm>
              <a:off x="3572" y="2825"/>
              <a:ext cx="118" cy="186"/>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Oval 41">
              <a:extLst>
                <a:ext uri="{FF2B5EF4-FFF2-40B4-BE49-F238E27FC236}">
                  <a16:creationId xmlns:a16="http://schemas.microsoft.com/office/drawing/2014/main" id="{D08A713E-9E68-4EA0-B982-8092115EB920}"/>
                </a:ext>
              </a:extLst>
            </p:cNvPr>
            <p:cNvSpPr>
              <a:spLocks noChangeArrowheads="1"/>
            </p:cNvSpPr>
            <p:nvPr/>
          </p:nvSpPr>
          <p:spPr bwMode="auto">
            <a:xfrm>
              <a:off x="3825" y="2972"/>
              <a:ext cx="117" cy="11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42">
              <a:extLst>
                <a:ext uri="{FF2B5EF4-FFF2-40B4-BE49-F238E27FC236}">
                  <a16:creationId xmlns:a16="http://schemas.microsoft.com/office/drawing/2014/main" id="{7B36C497-9D65-4646-AE36-3754B7FD21B2}"/>
                </a:ext>
              </a:extLst>
            </p:cNvPr>
            <p:cNvSpPr>
              <a:spLocks/>
            </p:cNvSpPr>
            <p:nvPr/>
          </p:nvSpPr>
          <p:spPr bwMode="auto">
            <a:xfrm>
              <a:off x="3853" y="2883"/>
              <a:ext cx="176" cy="176"/>
            </a:xfrm>
            <a:custGeom>
              <a:avLst/>
              <a:gdLst>
                <a:gd name="T0" fmla="*/ 41 w 176"/>
                <a:gd name="T1" fmla="*/ 176 h 176"/>
                <a:gd name="T2" fmla="*/ 0 w 176"/>
                <a:gd name="T3" fmla="*/ 135 h 176"/>
                <a:gd name="T4" fmla="*/ 135 w 176"/>
                <a:gd name="T5" fmla="*/ 0 h 176"/>
                <a:gd name="T6" fmla="*/ 176 w 176"/>
                <a:gd name="T7" fmla="*/ 41 h 176"/>
                <a:gd name="T8" fmla="*/ 41 w 176"/>
                <a:gd name="T9" fmla="*/ 176 h 176"/>
              </a:gdLst>
              <a:ahLst/>
              <a:cxnLst>
                <a:cxn ang="0">
                  <a:pos x="T0" y="T1"/>
                </a:cxn>
                <a:cxn ang="0">
                  <a:pos x="T2" y="T3"/>
                </a:cxn>
                <a:cxn ang="0">
                  <a:pos x="T4" y="T5"/>
                </a:cxn>
                <a:cxn ang="0">
                  <a:pos x="T6" y="T7"/>
                </a:cxn>
                <a:cxn ang="0">
                  <a:pos x="T8" y="T9"/>
                </a:cxn>
              </a:cxnLst>
              <a:rect l="0" t="0" r="r" b="b"/>
              <a:pathLst>
                <a:path w="176" h="176">
                  <a:moveTo>
                    <a:pt x="41" y="176"/>
                  </a:moveTo>
                  <a:lnTo>
                    <a:pt x="0" y="135"/>
                  </a:lnTo>
                  <a:lnTo>
                    <a:pt x="135" y="0"/>
                  </a:lnTo>
                  <a:lnTo>
                    <a:pt x="176" y="41"/>
                  </a:lnTo>
                  <a:lnTo>
                    <a:pt x="41" y="17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7" name="TextBox 96">
            <a:extLst>
              <a:ext uri="{FF2B5EF4-FFF2-40B4-BE49-F238E27FC236}">
                <a16:creationId xmlns:a16="http://schemas.microsoft.com/office/drawing/2014/main" id="{3A7FB4C7-D5EF-41BA-91DD-112F2379454A}"/>
              </a:ext>
            </a:extLst>
          </p:cNvPr>
          <p:cNvSpPr txBox="1"/>
          <p:nvPr/>
        </p:nvSpPr>
        <p:spPr>
          <a:xfrm>
            <a:off x="2766695" y="3904732"/>
            <a:ext cx="2103120" cy="132343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vOp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ploy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nito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cesses and cadence</a:t>
            </a:r>
          </a:p>
        </p:txBody>
      </p:sp>
      <p:sp>
        <p:nvSpPr>
          <p:cNvPr id="68" name="TextBox 67">
            <a:extLst>
              <a:ext uri="{FF2B5EF4-FFF2-40B4-BE49-F238E27FC236}">
                <a16:creationId xmlns:a16="http://schemas.microsoft.com/office/drawing/2014/main" id="{E27B2619-D9A2-4537-9F2A-8C664FC53220}"/>
              </a:ext>
            </a:extLst>
          </p:cNvPr>
          <p:cNvSpPr txBox="1"/>
          <p:nvPr/>
        </p:nvSpPr>
        <p:spPr>
          <a:xfrm>
            <a:off x="5234555" y="1609031"/>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erformance Efficiency</a:t>
            </a:r>
          </a:p>
        </p:txBody>
      </p:sp>
      <p:grpSp>
        <p:nvGrpSpPr>
          <p:cNvPr id="111" name="Group 4" descr="Performance efficiency pillar diagram: three gears">
            <a:extLst>
              <a:ext uri="{FF2B5EF4-FFF2-40B4-BE49-F238E27FC236}">
                <a16:creationId xmlns:a16="http://schemas.microsoft.com/office/drawing/2014/main" id="{418A2BAE-CCC5-4672-BCD8-2DF702525720}"/>
              </a:ext>
            </a:extLst>
          </p:cNvPr>
          <p:cNvGrpSpPr>
            <a:grpSpLocks noChangeAspect="1"/>
          </p:cNvGrpSpPr>
          <p:nvPr/>
        </p:nvGrpSpPr>
        <p:grpSpPr bwMode="auto">
          <a:xfrm>
            <a:off x="5800589" y="2525680"/>
            <a:ext cx="914400" cy="914400"/>
            <a:chOff x="8417" y="3338"/>
            <a:chExt cx="374" cy="374"/>
          </a:xfrm>
        </p:grpSpPr>
        <p:sp>
          <p:nvSpPr>
            <p:cNvPr id="119" name="AutoShape 3">
              <a:extLst>
                <a:ext uri="{FF2B5EF4-FFF2-40B4-BE49-F238E27FC236}">
                  <a16:creationId xmlns:a16="http://schemas.microsoft.com/office/drawing/2014/main" id="{A67470DD-53CC-4BFE-81B6-33703EB6A343}"/>
                </a:ext>
              </a:extLst>
            </p:cNvPr>
            <p:cNvSpPr>
              <a:spLocks noChangeAspect="1" noChangeArrowheads="1" noTextEdit="1"/>
            </p:cNvSpPr>
            <p:nvPr/>
          </p:nvSpPr>
          <p:spPr bwMode="auto">
            <a:xfrm>
              <a:off x="8417" y="3338"/>
              <a:ext cx="374"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5">
              <a:extLst>
                <a:ext uri="{FF2B5EF4-FFF2-40B4-BE49-F238E27FC236}">
                  <a16:creationId xmlns:a16="http://schemas.microsoft.com/office/drawing/2014/main" id="{4B40807A-568B-4BDE-967D-90F9D51E08AF}"/>
                </a:ext>
              </a:extLst>
            </p:cNvPr>
            <p:cNvSpPr>
              <a:spLocks noEditPoints="1"/>
            </p:cNvSpPr>
            <p:nvPr/>
          </p:nvSpPr>
          <p:spPr bwMode="auto">
            <a:xfrm>
              <a:off x="8518" y="3350"/>
              <a:ext cx="278" cy="24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6">
              <a:extLst>
                <a:ext uri="{FF2B5EF4-FFF2-40B4-BE49-F238E27FC236}">
                  <a16:creationId xmlns:a16="http://schemas.microsoft.com/office/drawing/2014/main" id="{40BB1AA1-8780-4CE4-98FC-D7711CDDA7D4}"/>
                </a:ext>
              </a:extLst>
            </p:cNvPr>
            <p:cNvSpPr>
              <a:spLocks/>
            </p:cNvSpPr>
            <p:nvPr/>
          </p:nvSpPr>
          <p:spPr bwMode="auto">
            <a:xfrm>
              <a:off x="8685" y="3338"/>
              <a:ext cx="37" cy="33"/>
            </a:xfrm>
            <a:custGeom>
              <a:avLst/>
              <a:gdLst>
                <a:gd name="T0" fmla="*/ 29 w 37"/>
                <a:gd name="T1" fmla="*/ 33 h 33"/>
                <a:gd name="T2" fmla="*/ 0 w 37"/>
                <a:gd name="T3" fmla="*/ 21 h 33"/>
                <a:gd name="T4" fmla="*/ 9 w 37"/>
                <a:gd name="T5" fmla="*/ 0 h 33"/>
                <a:gd name="T6" fmla="*/ 37 w 37"/>
                <a:gd name="T7" fmla="*/ 12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1"/>
                  </a:lnTo>
                  <a:lnTo>
                    <a:pt x="9" y="0"/>
                  </a:lnTo>
                  <a:lnTo>
                    <a:pt x="37" y="12"/>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7">
              <a:extLst>
                <a:ext uri="{FF2B5EF4-FFF2-40B4-BE49-F238E27FC236}">
                  <a16:creationId xmlns:a16="http://schemas.microsoft.com/office/drawing/2014/main" id="{634B3FE6-6AD7-4570-B7D7-7F6C1BB4C902}"/>
                </a:ext>
              </a:extLst>
            </p:cNvPr>
            <p:cNvSpPr>
              <a:spLocks/>
            </p:cNvSpPr>
            <p:nvPr/>
          </p:nvSpPr>
          <p:spPr bwMode="auto">
            <a:xfrm>
              <a:off x="8591" y="3574"/>
              <a:ext cx="37" cy="33"/>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8">
              <a:extLst>
                <a:ext uri="{FF2B5EF4-FFF2-40B4-BE49-F238E27FC236}">
                  <a16:creationId xmlns:a16="http://schemas.microsoft.com/office/drawing/2014/main" id="{9C7CB079-E0B5-4646-8A5E-9599EB65B9B4}"/>
                </a:ext>
              </a:extLst>
            </p:cNvPr>
            <p:cNvSpPr>
              <a:spLocks/>
            </p:cNvSpPr>
            <p:nvPr/>
          </p:nvSpPr>
          <p:spPr bwMode="auto">
            <a:xfrm>
              <a:off x="8758" y="3501"/>
              <a:ext cx="33" cy="37"/>
            </a:xfrm>
            <a:custGeom>
              <a:avLst/>
              <a:gdLst>
                <a:gd name="T0" fmla="*/ 33 w 33"/>
                <a:gd name="T1" fmla="*/ 9 h 37"/>
                <a:gd name="T2" fmla="*/ 22 w 33"/>
                <a:gd name="T3" fmla="*/ 37 h 37"/>
                <a:gd name="T4" fmla="*/ 0 w 33"/>
                <a:gd name="T5" fmla="*/ 29 h 37"/>
                <a:gd name="T6" fmla="*/ 12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2" y="0"/>
                  </a:lnTo>
                  <a:lnTo>
                    <a:pt x="33" y="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9">
              <a:extLst>
                <a:ext uri="{FF2B5EF4-FFF2-40B4-BE49-F238E27FC236}">
                  <a16:creationId xmlns:a16="http://schemas.microsoft.com/office/drawing/2014/main" id="{9B2DD70D-76D0-4D0B-B831-C5C9049193EA}"/>
                </a:ext>
              </a:extLst>
            </p:cNvPr>
            <p:cNvSpPr>
              <a:spLocks/>
            </p:cNvSpPr>
            <p:nvPr/>
          </p:nvSpPr>
          <p:spPr bwMode="auto">
            <a:xfrm>
              <a:off x="8522" y="3407"/>
              <a:ext cx="33" cy="37"/>
            </a:xfrm>
            <a:custGeom>
              <a:avLst/>
              <a:gdLst>
                <a:gd name="T0" fmla="*/ 33 w 33"/>
                <a:gd name="T1" fmla="*/ 8 h 37"/>
                <a:gd name="T2" fmla="*/ 22 w 33"/>
                <a:gd name="T3" fmla="*/ 37 h 37"/>
                <a:gd name="T4" fmla="*/ 0 w 33"/>
                <a:gd name="T5" fmla="*/ 29 h 37"/>
                <a:gd name="T6" fmla="*/ 12 w 33"/>
                <a:gd name="T7" fmla="*/ 0 h 37"/>
                <a:gd name="T8" fmla="*/ 33 w 33"/>
                <a:gd name="T9" fmla="*/ 8 h 37"/>
              </a:gdLst>
              <a:ahLst/>
              <a:cxnLst>
                <a:cxn ang="0">
                  <a:pos x="T0" y="T1"/>
                </a:cxn>
                <a:cxn ang="0">
                  <a:pos x="T2" y="T3"/>
                </a:cxn>
                <a:cxn ang="0">
                  <a:pos x="T4" y="T5"/>
                </a:cxn>
                <a:cxn ang="0">
                  <a:pos x="T6" y="T7"/>
                </a:cxn>
                <a:cxn ang="0">
                  <a:pos x="T8" y="T9"/>
                </a:cxn>
              </a:cxnLst>
              <a:rect l="0" t="0" r="r" b="b"/>
              <a:pathLst>
                <a:path w="33" h="37">
                  <a:moveTo>
                    <a:pt x="33" y="8"/>
                  </a:moveTo>
                  <a:lnTo>
                    <a:pt x="22" y="37"/>
                  </a:lnTo>
                  <a:lnTo>
                    <a:pt x="0" y="29"/>
                  </a:lnTo>
                  <a:lnTo>
                    <a:pt x="12" y="0"/>
                  </a:lnTo>
                  <a:lnTo>
                    <a:pt x="33" y="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10">
              <a:extLst>
                <a:ext uri="{FF2B5EF4-FFF2-40B4-BE49-F238E27FC236}">
                  <a16:creationId xmlns:a16="http://schemas.microsoft.com/office/drawing/2014/main" id="{CBEC545C-8B1E-4AE9-BACA-692253823DAF}"/>
                </a:ext>
              </a:extLst>
            </p:cNvPr>
            <p:cNvSpPr>
              <a:spLocks/>
            </p:cNvSpPr>
            <p:nvPr/>
          </p:nvSpPr>
          <p:spPr bwMode="auto">
            <a:xfrm>
              <a:off x="8523" y="3504"/>
              <a:ext cx="34" cy="37"/>
            </a:xfrm>
            <a:custGeom>
              <a:avLst/>
              <a:gdLst>
                <a:gd name="T0" fmla="*/ 21 w 34"/>
                <a:gd name="T1" fmla="*/ 0 h 37"/>
                <a:gd name="T2" fmla="*/ 34 w 34"/>
                <a:gd name="T3" fmla="*/ 28 h 37"/>
                <a:gd name="T4" fmla="*/ 12 w 34"/>
                <a:gd name="T5" fmla="*/ 37 h 37"/>
                <a:gd name="T6" fmla="*/ 0 w 34"/>
                <a:gd name="T7" fmla="*/ 9 h 37"/>
                <a:gd name="T8" fmla="*/ 21 w 34"/>
                <a:gd name="T9" fmla="*/ 0 h 37"/>
              </a:gdLst>
              <a:ahLst/>
              <a:cxnLst>
                <a:cxn ang="0">
                  <a:pos x="T0" y="T1"/>
                </a:cxn>
                <a:cxn ang="0">
                  <a:pos x="T2" y="T3"/>
                </a:cxn>
                <a:cxn ang="0">
                  <a:pos x="T4" y="T5"/>
                </a:cxn>
                <a:cxn ang="0">
                  <a:pos x="T6" y="T7"/>
                </a:cxn>
                <a:cxn ang="0">
                  <a:pos x="T8" y="T9"/>
                </a:cxn>
              </a:cxnLst>
              <a:rect l="0" t="0" r="r" b="b"/>
              <a:pathLst>
                <a:path w="34" h="37">
                  <a:moveTo>
                    <a:pt x="21" y="0"/>
                  </a:moveTo>
                  <a:lnTo>
                    <a:pt x="34"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11">
              <a:extLst>
                <a:ext uri="{FF2B5EF4-FFF2-40B4-BE49-F238E27FC236}">
                  <a16:creationId xmlns:a16="http://schemas.microsoft.com/office/drawing/2014/main" id="{C2336DBC-4A90-4AA9-9B14-098DB8470803}"/>
                </a:ext>
              </a:extLst>
            </p:cNvPr>
            <p:cNvSpPr>
              <a:spLocks/>
            </p:cNvSpPr>
            <p:nvPr/>
          </p:nvSpPr>
          <p:spPr bwMode="auto">
            <a:xfrm>
              <a:off x="8757" y="3404"/>
              <a:ext cx="33" cy="37"/>
            </a:xfrm>
            <a:custGeom>
              <a:avLst/>
              <a:gdLst>
                <a:gd name="T0" fmla="*/ 21 w 33"/>
                <a:gd name="T1" fmla="*/ 0 h 37"/>
                <a:gd name="T2" fmla="*/ 33 w 33"/>
                <a:gd name="T3" fmla="*/ 28 h 37"/>
                <a:gd name="T4" fmla="*/ 12 w 33"/>
                <a:gd name="T5" fmla="*/ 37 h 37"/>
                <a:gd name="T6" fmla="*/ 0 w 33"/>
                <a:gd name="T7" fmla="*/ 9 h 37"/>
                <a:gd name="T8" fmla="*/ 21 w 33"/>
                <a:gd name="T9" fmla="*/ 0 h 37"/>
              </a:gdLst>
              <a:ahLst/>
              <a:cxnLst>
                <a:cxn ang="0">
                  <a:pos x="T0" y="T1"/>
                </a:cxn>
                <a:cxn ang="0">
                  <a:pos x="T2" y="T3"/>
                </a:cxn>
                <a:cxn ang="0">
                  <a:pos x="T4" y="T5"/>
                </a:cxn>
                <a:cxn ang="0">
                  <a:pos x="T6" y="T7"/>
                </a:cxn>
                <a:cxn ang="0">
                  <a:pos x="T8" y="T9"/>
                </a:cxn>
              </a:cxnLst>
              <a:rect l="0" t="0" r="r" b="b"/>
              <a:pathLst>
                <a:path w="33" h="37">
                  <a:moveTo>
                    <a:pt x="21" y="0"/>
                  </a:moveTo>
                  <a:lnTo>
                    <a:pt x="33"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12">
              <a:extLst>
                <a:ext uri="{FF2B5EF4-FFF2-40B4-BE49-F238E27FC236}">
                  <a16:creationId xmlns:a16="http://schemas.microsoft.com/office/drawing/2014/main" id="{BD3810EE-ADEF-4332-B82B-FAB104473ECD}"/>
                </a:ext>
              </a:extLst>
            </p:cNvPr>
            <p:cNvSpPr>
              <a:spLocks/>
            </p:cNvSpPr>
            <p:nvPr/>
          </p:nvSpPr>
          <p:spPr bwMode="auto">
            <a:xfrm>
              <a:off x="8688" y="3573"/>
              <a:ext cx="38" cy="33"/>
            </a:xfrm>
            <a:custGeom>
              <a:avLst/>
              <a:gdLst>
                <a:gd name="T0" fmla="*/ 0 w 38"/>
                <a:gd name="T1" fmla="*/ 12 h 33"/>
                <a:gd name="T2" fmla="*/ 29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9" y="0"/>
                  </a:lnTo>
                  <a:lnTo>
                    <a:pt x="38" y="21"/>
                  </a:lnTo>
                  <a:lnTo>
                    <a:pt x="9" y="33"/>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13">
              <a:extLst>
                <a:ext uri="{FF2B5EF4-FFF2-40B4-BE49-F238E27FC236}">
                  <a16:creationId xmlns:a16="http://schemas.microsoft.com/office/drawing/2014/main" id="{B8940A5C-1105-4C36-B585-39EE958B72B9}"/>
                </a:ext>
              </a:extLst>
            </p:cNvPr>
            <p:cNvSpPr>
              <a:spLocks/>
            </p:cNvSpPr>
            <p:nvPr/>
          </p:nvSpPr>
          <p:spPr bwMode="auto">
            <a:xfrm>
              <a:off x="8588" y="3339"/>
              <a:ext cx="37" cy="34"/>
            </a:xfrm>
            <a:custGeom>
              <a:avLst/>
              <a:gdLst>
                <a:gd name="T0" fmla="*/ 0 w 37"/>
                <a:gd name="T1" fmla="*/ 12 h 34"/>
                <a:gd name="T2" fmla="*/ 28 w 37"/>
                <a:gd name="T3" fmla="*/ 0 h 34"/>
                <a:gd name="T4" fmla="*/ 37 w 37"/>
                <a:gd name="T5" fmla="*/ 21 h 34"/>
                <a:gd name="T6" fmla="*/ 9 w 37"/>
                <a:gd name="T7" fmla="*/ 34 h 34"/>
                <a:gd name="T8" fmla="*/ 0 w 37"/>
                <a:gd name="T9" fmla="*/ 12 h 34"/>
              </a:gdLst>
              <a:ahLst/>
              <a:cxnLst>
                <a:cxn ang="0">
                  <a:pos x="T0" y="T1"/>
                </a:cxn>
                <a:cxn ang="0">
                  <a:pos x="T2" y="T3"/>
                </a:cxn>
                <a:cxn ang="0">
                  <a:pos x="T4" y="T5"/>
                </a:cxn>
                <a:cxn ang="0">
                  <a:pos x="T6" y="T7"/>
                </a:cxn>
                <a:cxn ang="0">
                  <a:pos x="T8" y="T9"/>
                </a:cxn>
              </a:cxnLst>
              <a:rect l="0" t="0" r="r" b="b"/>
              <a:pathLst>
                <a:path w="37" h="34">
                  <a:moveTo>
                    <a:pt x="0" y="12"/>
                  </a:moveTo>
                  <a:lnTo>
                    <a:pt x="28" y="0"/>
                  </a:lnTo>
                  <a:lnTo>
                    <a:pt x="37" y="21"/>
                  </a:lnTo>
                  <a:lnTo>
                    <a:pt x="9" y="34"/>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14">
              <a:extLst>
                <a:ext uri="{FF2B5EF4-FFF2-40B4-BE49-F238E27FC236}">
                  <a16:creationId xmlns:a16="http://schemas.microsoft.com/office/drawing/2014/main" id="{637F85DC-2DC7-4F29-A3F1-A67B7C35DDD2}"/>
                </a:ext>
              </a:extLst>
            </p:cNvPr>
            <p:cNvSpPr>
              <a:spLocks noEditPoints="1"/>
            </p:cNvSpPr>
            <p:nvPr/>
          </p:nvSpPr>
          <p:spPr bwMode="auto">
            <a:xfrm>
              <a:off x="8428" y="3561"/>
              <a:ext cx="141" cy="140"/>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15">
              <a:extLst>
                <a:ext uri="{FF2B5EF4-FFF2-40B4-BE49-F238E27FC236}">
                  <a16:creationId xmlns:a16="http://schemas.microsoft.com/office/drawing/2014/main" id="{EFBFE197-19E0-4C16-A255-02297EE313FA}"/>
                </a:ext>
              </a:extLst>
            </p:cNvPr>
            <p:cNvSpPr>
              <a:spLocks/>
            </p:cNvSpPr>
            <p:nvPr/>
          </p:nvSpPr>
          <p:spPr bwMode="auto">
            <a:xfrm>
              <a:off x="8489" y="3548"/>
              <a:ext cx="17" cy="15"/>
            </a:xfrm>
            <a:custGeom>
              <a:avLst/>
              <a:gdLst>
                <a:gd name="T0" fmla="*/ 17 w 17"/>
                <a:gd name="T1" fmla="*/ 15 h 15"/>
                <a:gd name="T2" fmla="*/ 0 w 17"/>
                <a:gd name="T3" fmla="*/ 15 h 15"/>
                <a:gd name="T4" fmla="*/ 0 w 17"/>
                <a:gd name="T5" fmla="*/ 1 h 15"/>
                <a:gd name="T6" fmla="*/ 17 w 17"/>
                <a:gd name="T7" fmla="*/ 0 h 15"/>
                <a:gd name="T8" fmla="*/ 17 w 17"/>
                <a:gd name="T9" fmla="*/ 15 h 15"/>
              </a:gdLst>
              <a:ahLst/>
              <a:cxnLst>
                <a:cxn ang="0">
                  <a:pos x="T0" y="T1"/>
                </a:cxn>
                <a:cxn ang="0">
                  <a:pos x="T2" y="T3"/>
                </a:cxn>
                <a:cxn ang="0">
                  <a:pos x="T4" y="T5"/>
                </a:cxn>
                <a:cxn ang="0">
                  <a:pos x="T6" y="T7"/>
                </a:cxn>
                <a:cxn ang="0">
                  <a:pos x="T8" y="T9"/>
                </a:cxn>
              </a:cxnLst>
              <a:rect l="0" t="0" r="r" b="b"/>
              <a:pathLst>
                <a:path w="17" h="15">
                  <a:moveTo>
                    <a:pt x="17" y="15"/>
                  </a:moveTo>
                  <a:lnTo>
                    <a:pt x="0" y="15"/>
                  </a:lnTo>
                  <a:lnTo>
                    <a:pt x="0" y="1"/>
                  </a:lnTo>
                  <a:lnTo>
                    <a:pt x="17" y="0"/>
                  </a:lnTo>
                  <a:lnTo>
                    <a:pt x="17"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Rectangle 16">
              <a:extLst>
                <a:ext uri="{FF2B5EF4-FFF2-40B4-BE49-F238E27FC236}">
                  <a16:creationId xmlns:a16="http://schemas.microsoft.com/office/drawing/2014/main" id="{0EF59056-1140-435B-A6D4-F6A7D8A0FF2F}"/>
                </a:ext>
              </a:extLst>
            </p:cNvPr>
            <p:cNvSpPr>
              <a:spLocks noChangeArrowheads="1"/>
            </p:cNvSpPr>
            <p:nvPr/>
          </p:nvSpPr>
          <p:spPr bwMode="auto">
            <a:xfrm>
              <a:off x="8492" y="3698"/>
              <a:ext cx="17"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17">
              <a:extLst>
                <a:ext uri="{FF2B5EF4-FFF2-40B4-BE49-F238E27FC236}">
                  <a16:creationId xmlns:a16="http://schemas.microsoft.com/office/drawing/2014/main" id="{859C1662-0377-4DCE-AE71-704F0B462CE2}"/>
                </a:ext>
              </a:extLst>
            </p:cNvPr>
            <p:cNvSpPr>
              <a:spLocks/>
            </p:cNvSpPr>
            <p:nvPr/>
          </p:nvSpPr>
          <p:spPr bwMode="auto">
            <a:xfrm>
              <a:off x="8566" y="3622"/>
              <a:ext cx="15" cy="17"/>
            </a:xfrm>
            <a:custGeom>
              <a:avLst/>
              <a:gdLst>
                <a:gd name="T0" fmla="*/ 14 w 15"/>
                <a:gd name="T1" fmla="*/ 0 h 17"/>
                <a:gd name="T2" fmla="*/ 15 w 15"/>
                <a:gd name="T3" fmla="*/ 17 h 17"/>
                <a:gd name="T4" fmla="*/ 0 w 15"/>
                <a:gd name="T5" fmla="*/ 17 h 17"/>
                <a:gd name="T6" fmla="*/ 0 w 15"/>
                <a:gd name="T7" fmla="*/ 0 h 17"/>
                <a:gd name="T8" fmla="*/ 14 w 15"/>
                <a:gd name="T9" fmla="*/ 0 h 17"/>
              </a:gdLst>
              <a:ahLst/>
              <a:cxnLst>
                <a:cxn ang="0">
                  <a:pos x="T0" y="T1"/>
                </a:cxn>
                <a:cxn ang="0">
                  <a:pos x="T2" y="T3"/>
                </a:cxn>
                <a:cxn ang="0">
                  <a:pos x="T4" y="T5"/>
                </a:cxn>
                <a:cxn ang="0">
                  <a:pos x="T6" y="T7"/>
                </a:cxn>
                <a:cxn ang="0">
                  <a:pos x="T8" y="T9"/>
                </a:cxn>
              </a:cxnLst>
              <a:rect l="0" t="0" r="r" b="b"/>
              <a:pathLst>
                <a:path w="15" h="17">
                  <a:moveTo>
                    <a:pt x="14" y="0"/>
                  </a:moveTo>
                  <a:lnTo>
                    <a:pt x="15" y="17"/>
                  </a:lnTo>
                  <a:lnTo>
                    <a:pt x="0" y="17"/>
                  </a:lnTo>
                  <a:lnTo>
                    <a:pt x="0" y="0"/>
                  </a:lnTo>
                  <a:lnTo>
                    <a:pt x="1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Rectangle 18">
              <a:extLst>
                <a:ext uri="{FF2B5EF4-FFF2-40B4-BE49-F238E27FC236}">
                  <a16:creationId xmlns:a16="http://schemas.microsoft.com/office/drawing/2014/main" id="{BB142470-CC00-4B66-BE60-7D6FB9FBF400}"/>
                </a:ext>
              </a:extLst>
            </p:cNvPr>
            <p:cNvSpPr>
              <a:spLocks noChangeArrowheads="1"/>
            </p:cNvSpPr>
            <p:nvPr/>
          </p:nvSpPr>
          <p:spPr bwMode="auto">
            <a:xfrm>
              <a:off x="8417" y="3622"/>
              <a:ext cx="15" cy="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19">
              <a:extLst>
                <a:ext uri="{FF2B5EF4-FFF2-40B4-BE49-F238E27FC236}">
                  <a16:creationId xmlns:a16="http://schemas.microsoft.com/office/drawing/2014/main" id="{32C159CB-BDE5-4D63-AB57-000B2A677317}"/>
                </a:ext>
              </a:extLst>
            </p:cNvPr>
            <p:cNvSpPr>
              <a:spLocks/>
            </p:cNvSpPr>
            <p:nvPr/>
          </p:nvSpPr>
          <p:spPr bwMode="auto">
            <a:xfrm>
              <a:off x="8435" y="3672"/>
              <a:ext cx="23" cy="23"/>
            </a:xfrm>
            <a:custGeom>
              <a:avLst/>
              <a:gdLst>
                <a:gd name="T0" fmla="*/ 10 w 23"/>
                <a:gd name="T1" fmla="*/ 0 h 23"/>
                <a:gd name="T2" fmla="*/ 23 w 23"/>
                <a:gd name="T3" fmla="*/ 13 h 23"/>
                <a:gd name="T4" fmla="*/ 14 w 23"/>
                <a:gd name="T5" fmla="*/ 23 h 23"/>
                <a:gd name="T6" fmla="*/ 0 w 23"/>
                <a:gd name="T7" fmla="*/ 10 h 23"/>
                <a:gd name="T8" fmla="*/ 10 w 23"/>
                <a:gd name="T9" fmla="*/ 0 h 23"/>
              </a:gdLst>
              <a:ahLst/>
              <a:cxnLst>
                <a:cxn ang="0">
                  <a:pos x="T0" y="T1"/>
                </a:cxn>
                <a:cxn ang="0">
                  <a:pos x="T2" y="T3"/>
                </a:cxn>
                <a:cxn ang="0">
                  <a:pos x="T4" y="T5"/>
                </a:cxn>
                <a:cxn ang="0">
                  <a:pos x="T6" y="T7"/>
                </a:cxn>
                <a:cxn ang="0">
                  <a:pos x="T8" y="T9"/>
                </a:cxn>
              </a:cxnLst>
              <a:rect l="0" t="0" r="r" b="b"/>
              <a:pathLst>
                <a:path w="23" h="23">
                  <a:moveTo>
                    <a:pt x="10" y="0"/>
                  </a:moveTo>
                  <a:lnTo>
                    <a:pt x="23" y="13"/>
                  </a:lnTo>
                  <a:lnTo>
                    <a:pt x="14" y="23"/>
                  </a:lnTo>
                  <a:lnTo>
                    <a:pt x="0" y="10"/>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20">
              <a:extLst>
                <a:ext uri="{FF2B5EF4-FFF2-40B4-BE49-F238E27FC236}">
                  <a16:creationId xmlns:a16="http://schemas.microsoft.com/office/drawing/2014/main" id="{6159C02F-EBE3-4B3C-B9E1-D4A64F43A3A8}"/>
                </a:ext>
              </a:extLst>
            </p:cNvPr>
            <p:cNvSpPr>
              <a:spLocks/>
            </p:cNvSpPr>
            <p:nvPr/>
          </p:nvSpPr>
          <p:spPr bwMode="auto">
            <a:xfrm>
              <a:off x="8540" y="3567"/>
              <a:ext cx="23" cy="22"/>
            </a:xfrm>
            <a:custGeom>
              <a:avLst/>
              <a:gdLst>
                <a:gd name="T0" fmla="*/ 10 w 23"/>
                <a:gd name="T1" fmla="*/ 0 h 22"/>
                <a:gd name="T2" fmla="*/ 23 w 23"/>
                <a:gd name="T3" fmla="*/ 12 h 22"/>
                <a:gd name="T4" fmla="*/ 13 w 23"/>
                <a:gd name="T5" fmla="*/ 22 h 22"/>
                <a:gd name="T6" fmla="*/ 0 w 23"/>
                <a:gd name="T7" fmla="*/ 9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lnTo>
                    <a:pt x="23" y="12"/>
                  </a:lnTo>
                  <a:lnTo>
                    <a:pt x="13" y="22"/>
                  </a:lnTo>
                  <a:lnTo>
                    <a:pt x="0" y="9"/>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21">
              <a:extLst>
                <a:ext uri="{FF2B5EF4-FFF2-40B4-BE49-F238E27FC236}">
                  <a16:creationId xmlns:a16="http://schemas.microsoft.com/office/drawing/2014/main" id="{81451956-0A53-48BE-9D9D-EF19ED7ED192}"/>
                </a:ext>
              </a:extLst>
            </p:cNvPr>
            <p:cNvSpPr>
              <a:spLocks/>
            </p:cNvSpPr>
            <p:nvPr/>
          </p:nvSpPr>
          <p:spPr bwMode="auto">
            <a:xfrm>
              <a:off x="8541" y="3671"/>
              <a:ext cx="23" cy="22"/>
            </a:xfrm>
            <a:custGeom>
              <a:avLst/>
              <a:gdLst>
                <a:gd name="T0" fmla="*/ 0 w 23"/>
                <a:gd name="T1" fmla="*/ 13 h 22"/>
                <a:gd name="T2" fmla="*/ 13 w 23"/>
                <a:gd name="T3" fmla="*/ 0 h 22"/>
                <a:gd name="T4" fmla="*/ 23 w 23"/>
                <a:gd name="T5" fmla="*/ 9 h 22"/>
                <a:gd name="T6" fmla="*/ 10 w 23"/>
                <a:gd name="T7" fmla="*/ 22 h 22"/>
                <a:gd name="T8" fmla="*/ 0 w 23"/>
                <a:gd name="T9" fmla="*/ 13 h 22"/>
              </a:gdLst>
              <a:ahLst/>
              <a:cxnLst>
                <a:cxn ang="0">
                  <a:pos x="T0" y="T1"/>
                </a:cxn>
                <a:cxn ang="0">
                  <a:pos x="T2" y="T3"/>
                </a:cxn>
                <a:cxn ang="0">
                  <a:pos x="T4" y="T5"/>
                </a:cxn>
                <a:cxn ang="0">
                  <a:pos x="T6" y="T7"/>
                </a:cxn>
                <a:cxn ang="0">
                  <a:pos x="T8" y="T9"/>
                </a:cxn>
              </a:cxnLst>
              <a:rect l="0" t="0" r="r" b="b"/>
              <a:pathLst>
                <a:path w="23" h="22">
                  <a:moveTo>
                    <a:pt x="0" y="13"/>
                  </a:moveTo>
                  <a:lnTo>
                    <a:pt x="13" y="0"/>
                  </a:lnTo>
                  <a:lnTo>
                    <a:pt x="23" y="9"/>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22">
              <a:extLst>
                <a:ext uri="{FF2B5EF4-FFF2-40B4-BE49-F238E27FC236}">
                  <a16:creationId xmlns:a16="http://schemas.microsoft.com/office/drawing/2014/main" id="{3351BCD2-D92B-4725-B805-B148C40284AA}"/>
                </a:ext>
              </a:extLst>
            </p:cNvPr>
            <p:cNvSpPr>
              <a:spLocks/>
            </p:cNvSpPr>
            <p:nvPr/>
          </p:nvSpPr>
          <p:spPr bwMode="auto">
            <a:xfrm>
              <a:off x="8434" y="3568"/>
              <a:ext cx="22" cy="22"/>
            </a:xfrm>
            <a:custGeom>
              <a:avLst/>
              <a:gdLst>
                <a:gd name="T0" fmla="*/ 0 w 22"/>
                <a:gd name="T1" fmla="*/ 13 h 22"/>
                <a:gd name="T2" fmla="*/ 13 w 22"/>
                <a:gd name="T3" fmla="*/ 0 h 22"/>
                <a:gd name="T4" fmla="*/ 22 w 22"/>
                <a:gd name="T5" fmla="*/ 10 h 22"/>
                <a:gd name="T6" fmla="*/ 10 w 22"/>
                <a:gd name="T7" fmla="*/ 22 h 22"/>
                <a:gd name="T8" fmla="*/ 0 w 22"/>
                <a:gd name="T9" fmla="*/ 13 h 22"/>
              </a:gdLst>
              <a:ahLst/>
              <a:cxnLst>
                <a:cxn ang="0">
                  <a:pos x="T0" y="T1"/>
                </a:cxn>
                <a:cxn ang="0">
                  <a:pos x="T2" y="T3"/>
                </a:cxn>
                <a:cxn ang="0">
                  <a:pos x="T4" y="T5"/>
                </a:cxn>
                <a:cxn ang="0">
                  <a:pos x="T6" y="T7"/>
                </a:cxn>
                <a:cxn ang="0">
                  <a:pos x="T8" y="T9"/>
                </a:cxn>
              </a:cxnLst>
              <a:rect l="0" t="0" r="r" b="b"/>
              <a:pathLst>
                <a:path w="22" h="22">
                  <a:moveTo>
                    <a:pt x="0" y="13"/>
                  </a:moveTo>
                  <a:lnTo>
                    <a:pt x="13" y="0"/>
                  </a:lnTo>
                  <a:lnTo>
                    <a:pt x="22" y="10"/>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23">
              <a:extLst>
                <a:ext uri="{FF2B5EF4-FFF2-40B4-BE49-F238E27FC236}">
                  <a16:creationId xmlns:a16="http://schemas.microsoft.com/office/drawing/2014/main" id="{778DB566-191E-4971-927D-757AC9FE6D90}"/>
                </a:ext>
              </a:extLst>
            </p:cNvPr>
            <p:cNvSpPr>
              <a:spLocks noEditPoints="1"/>
            </p:cNvSpPr>
            <p:nvPr/>
          </p:nvSpPr>
          <p:spPr bwMode="auto">
            <a:xfrm>
              <a:off x="8423" y="3450"/>
              <a:ext cx="81" cy="80"/>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24">
              <a:extLst>
                <a:ext uri="{FF2B5EF4-FFF2-40B4-BE49-F238E27FC236}">
                  <a16:creationId xmlns:a16="http://schemas.microsoft.com/office/drawing/2014/main" id="{07453588-11EF-4BE1-ABD8-0E977D792EAE}"/>
                </a:ext>
              </a:extLst>
            </p:cNvPr>
            <p:cNvSpPr>
              <a:spLocks/>
            </p:cNvSpPr>
            <p:nvPr/>
          </p:nvSpPr>
          <p:spPr bwMode="auto">
            <a:xfrm>
              <a:off x="8458" y="3443"/>
              <a:ext cx="10" cy="9"/>
            </a:xfrm>
            <a:custGeom>
              <a:avLst/>
              <a:gdLst>
                <a:gd name="T0" fmla="*/ 10 w 10"/>
                <a:gd name="T1" fmla="*/ 8 h 9"/>
                <a:gd name="T2" fmla="*/ 0 w 10"/>
                <a:gd name="T3" fmla="*/ 9 h 9"/>
                <a:gd name="T4" fmla="*/ 0 w 10"/>
                <a:gd name="T5" fmla="*/ 1 h 9"/>
                <a:gd name="T6" fmla="*/ 10 w 10"/>
                <a:gd name="T7" fmla="*/ 0 h 9"/>
                <a:gd name="T8" fmla="*/ 10 w 10"/>
                <a:gd name="T9" fmla="*/ 8 h 9"/>
              </a:gdLst>
              <a:ahLst/>
              <a:cxnLst>
                <a:cxn ang="0">
                  <a:pos x="T0" y="T1"/>
                </a:cxn>
                <a:cxn ang="0">
                  <a:pos x="T2" y="T3"/>
                </a:cxn>
                <a:cxn ang="0">
                  <a:pos x="T4" y="T5"/>
                </a:cxn>
                <a:cxn ang="0">
                  <a:pos x="T6" y="T7"/>
                </a:cxn>
                <a:cxn ang="0">
                  <a:pos x="T8" y="T9"/>
                </a:cxn>
              </a:cxnLst>
              <a:rect l="0" t="0" r="r" b="b"/>
              <a:pathLst>
                <a:path w="10" h="9">
                  <a:moveTo>
                    <a:pt x="10" y="8"/>
                  </a:moveTo>
                  <a:lnTo>
                    <a:pt x="0" y="9"/>
                  </a:lnTo>
                  <a:lnTo>
                    <a:pt x="0" y="1"/>
                  </a:lnTo>
                  <a:lnTo>
                    <a:pt x="10" y="0"/>
                  </a:lnTo>
                  <a:lnTo>
                    <a:pt x="1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25">
              <a:extLst>
                <a:ext uri="{FF2B5EF4-FFF2-40B4-BE49-F238E27FC236}">
                  <a16:creationId xmlns:a16="http://schemas.microsoft.com/office/drawing/2014/main" id="{7C722F24-28FF-4140-911A-FC554A23C559}"/>
                </a:ext>
              </a:extLst>
            </p:cNvPr>
            <p:cNvSpPr>
              <a:spLocks/>
            </p:cNvSpPr>
            <p:nvPr/>
          </p:nvSpPr>
          <p:spPr bwMode="auto">
            <a:xfrm>
              <a:off x="8460" y="3528"/>
              <a:ext cx="10" cy="9"/>
            </a:xfrm>
            <a:custGeom>
              <a:avLst/>
              <a:gdLst>
                <a:gd name="T0" fmla="*/ 10 w 10"/>
                <a:gd name="T1" fmla="*/ 9 h 9"/>
                <a:gd name="T2" fmla="*/ 0 w 10"/>
                <a:gd name="T3" fmla="*/ 9 h 9"/>
                <a:gd name="T4" fmla="*/ 0 w 10"/>
                <a:gd name="T5" fmla="*/ 1 h 9"/>
                <a:gd name="T6" fmla="*/ 10 w 10"/>
                <a:gd name="T7" fmla="*/ 0 h 9"/>
                <a:gd name="T8" fmla="*/ 10 w 10"/>
                <a:gd name="T9" fmla="*/ 9 h 9"/>
              </a:gdLst>
              <a:ahLst/>
              <a:cxnLst>
                <a:cxn ang="0">
                  <a:pos x="T0" y="T1"/>
                </a:cxn>
                <a:cxn ang="0">
                  <a:pos x="T2" y="T3"/>
                </a:cxn>
                <a:cxn ang="0">
                  <a:pos x="T4" y="T5"/>
                </a:cxn>
                <a:cxn ang="0">
                  <a:pos x="T6" y="T7"/>
                </a:cxn>
                <a:cxn ang="0">
                  <a:pos x="T8" y="T9"/>
                </a:cxn>
              </a:cxnLst>
              <a:rect l="0" t="0" r="r" b="b"/>
              <a:pathLst>
                <a:path w="10" h="9">
                  <a:moveTo>
                    <a:pt x="10" y="9"/>
                  </a:moveTo>
                  <a:lnTo>
                    <a:pt x="0" y="9"/>
                  </a:lnTo>
                  <a:lnTo>
                    <a:pt x="0" y="1"/>
                  </a:lnTo>
                  <a:lnTo>
                    <a:pt x="10" y="0"/>
                  </a:lnTo>
                  <a:lnTo>
                    <a:pt x="1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Rectangle 26">
              <a:extLst>
                <a:ext uri="{FF2B5EF4-FFF2-40B4-BE49-F238E27FC236}">
                  <a16:creationId xmlns:a16="http://schemas.microsoft.com/office/drawing/2014/main" id="{400061E8-32E7-4219-96F9-B077143F3E99}"/>
                </a:ext>
              </a:extLst>
            </p:cNvPr>
            <p:cNvSpPr>
              <a:spLocks noChangeArrowheads="1"/>
            </p:cNvSpPr>
            <p:nvPr/>
          </p:nvSpPr>
          <p:spPr bwMode="auto">
            <a:xfrm>
              <a:off x="8502" y="3485"/>
              <a:ext cx="8" cy="1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27">
              <a:extLst>
                <a:ext uri="{FF2B5EF4-FFF2-40B4-BE49-F238E27FC236}">
                  <a16:creationId xmlns:a16="http://schemas.microsoft.com/office/drawing/2014/main" id="{D14AC6A0-9392-45E8-B596-8AD0C0EBABF4}"/>
                </a:ext>
              </a:extLst>
            </p:cNvPr>
            <p:cNvSpPr>
              <a:spLocks/>
            </p:cNvSpPr>
            <p:nvPr/>
          </p:nvSpPr>
          <p:spPr bwMode="auto">
            <a:xfrm>
              <a:off x="8417" y="3485"/>
              <a:ext cx="9" cy="10"/>
            </a:xfrm>
            <a:custGeom>
              <a:avLst/>
              <a:gdLst>
                <a:gd name="T0" fmla="*/ 8 w 9"/>
                <a:gd name="T1" fmla="*/ 0 h 10"/>
                <a:gd name="T2" fmla="*/ 9 w 9"/>
                <a:gd name="T3" fmla="*/ 10 h 10"/>
                <a:gd name="T4" fmla="*/ 0 w 9"/>
                <a:gd name="T5" fmla="*/ 10 h 10"/>
                <a:gd name="T6" fmla="*/ 0 w 9"/>
                <a:gd name="T7" fmla="*/ 0 h 10"/>
                <a:gd name="T8" fmla="*/ 8 w 9"/>
                <a:gd name="T9" fmla="*/ 0 h 10"/>
              </a:gdLst>
              <a:ahLst/>
              <a:cxnLst>
                <a:cxn ang="0">
                  <a:pos x="T0" y="T1"/>
                </a:cxn>
                <a:cxn ang="0">
                  <a:pos x="T2" y="T3"/>
                </a:cxn>
                <a:cxn ang="0">
                  <a:pos x="T4" y="T5"/>
                </a:cxn>
                <a:cxn ang="0">
                  <a:pos x="T6" y="T7"/>
                </a:cxn>
                <a:cxn ang="0">
                  <a:pos x="T8" y="T9"/>
                </a:cxn>
              </a:cxnLst>
              <a:rect l="0" t="0" r="r" b="b"/>
              <a:pathLst>
                <a:path w="9" h="10">
                  <a:moveTo>
                    <a:pt x="8" y="0"/>
                  </a:moveTo>
                  <a:lnTo>
                    <a:pt x="9" y="10"/>
                  </a:lnTo>
                  <a:lnTo>
                    <a:pt x="0" y="10"/>
                  </a:lnTo>
                  <a:lnTo>
                    <a:pt x="0" y="0"/>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28">
              <a:extLst>
                <a:ext uri="{FF2B5EF4-FFF2-40B4-BE49-F238E27FC236}">
                  <a16:creationId xmlns:a16="http://schemas.microsoft.com/office/drawing/2014/main" id="{38C2E3E7-A7C9-4E72-8280-FA24EB551AAC}"/>
                </a:ext>
              </a:extLst>
            </p:cNvPr>
            <p:cNvSpPr>
              <a:spLocks/>
            </p:cNvSpPr>
            <p:nvPr/>
          </p:nvSpPr>
          <p:spPr bwMode="auto">
            <a:xfrm>
              <a:off x="8428" y="3514"/>
              <a:ext cx="12" cy="13"/>
            </a:xfrm>
            <a:custGeom>
              <a:avLst/>
              <a:gdLst>
                <a:gd name="T0" fmla="*/ 5 w 12"/>
                <a:gd name="T1" fmla="*/ 0 h 13"/>
                <a:gd name="T2" fmla="*/ 12 w 12"/>
                <a:gd name="T3" fmla="*/ 7 h 13"/>
                <a:gd name="T4" fmla="*/ 7 w 12"/>
                <a:gd name="T5" fmla="*/ 13 h 13"/>
                <a:gd name="T6" fmla="*/ 0 w 12"/>
                <a:gd name="T7" fmla="*/ 5 h 13"/>
                <a:gd name="T8" fmla="*/ 5 w 12"/>
                <a:gd name="T9" fmla="*/ 0 h 13"/>
              </a:gdLst>
              <a:ahLst/>
              <a:cxnLst>
                <a:cxn ang="0">
                  <a:pos x="T0" y="T1"/>
                </a:cxn>
                <a:cxn ang="0">
                  <a:pos x="T2" y="T3"/>
                </a:cxn>
                <a:cxn ang="0">
                  <a:pos x="T4" y="T5"/>
                </a:cxn>
                <a:cxn ang="0">
                  <a:pos x="T6" y="T7"/>
                </a:cxn>
                <a:cxn ang="0">
                  <a:pos x="T8" y="T9"/>
                </a:cxn>
              </a:cxnLst>
              <a:rect l="0" t="0" r="r" b="b"/>
              <a:pathLst>
                <a:path w="12" h="13">
                  <a:moveTo>
                    <a:pt x="5" y="0"/>
                  </a:moveTo>
                  <a:lnTo>
                    <a:pt x="12" y="7"/>
                  </a:lnTo>
                  <a:lnTo>
                    <a:pt x="7" y="13"/>
                  </a:lnTo>
                  <a:lnTo>
                    <a:pt x="0" y="5"/>
                  </a:lnTo>
                  <a:lnTo>
                    <a:pt x="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29">
              <a:extLst>
                <a:ext uri="{FF2B5EF4-FFF2-40B4-BE49-F238E27FC236}">
                  <a16:creationId xmlns:a16="http://schemas.microsoft.com/office/drawing/2014/main" id="{107FEB5A-46E6-4EB4-9E07-337EFA4B542A}"/>
                </a:ext>
              </a:extLst>
            </p:cNvPr>
            <p:cNvSpPr>
              <a:spLocks/>
            </p:cNvSpPr>
            <p:nvPr/>
          </p:nvSpPr>
          <p:spPr bwMode="auto">
            <a:xfrm>
              <a:off x="8487" y="3454"/>
              <a:ext cx="13" cy="12"/>
            </a:xfrm>
            <a:custGeom>
              <a:avLst/>
              <a:gdLst>
                <a:gd name="T0" fmla="*/ 6 w 13"/>
                <a:gd name="T1" fmla="*/ 0 h 12"/>
                <a:gd name="T2" fmla="*/ 13 w 13"/>
                <a:gd name="T3" fmla="*/ 7 h 12"/>
                <a:gd name="T4" fmla="*/ 8 w 13"/>
                <a:gd name="T5" fmla="*/ 12 h 12"/>
                <a:gd name="T6" fmla="*/ 0 w 13"/>
                <a:gd name="T7" fmla="*/ 5 h 12"/>
                <a:gd name="T8" fmla="*/ 6 w 13"/>
                <a:gd name="T9" fmla="*/ 0 h 12"/>
              </a:gdLst>
              <a:ahLst/>
              <a:cxnLst>
                <a:cxn ang="0">
                  <a:pos x="T0" y="T1"/>
                </a:cxn>
                <a:cxn ang="0">
                  <a:pos x="T2" y="T3"/>
                </a:cxn>
                <a:cxn ang="0">
                  <a:pos x="T4" y="T5"/>
                </a:cxn>
                <a:cxn ang="0">
                  <a:pos x="T6" y="T7"/>
                </a:cxn>
                <a:cxn ang="0">
                  <a:pos x="T8" y="T9"/>
                </a:cxn>
              </a:cxnLst>
              <a:rect l="0" t="0" r="r" b="b"/>
              <a:pathLst>
                <a:path w="13" h="12">
                  <a:moveTo>
                    <a:pt x="6" y="0"/>
                  </a:moveTo>
                  <a:lnTo>
                    <a:pt x="13" y="7"/>
                  </a:lnTo>
                  <a:lnTo>
                    <a:pt x="8" y="12"/>
                  </a:lnTo>
                  <a:lnTo>
                    <a:pt x="0" y="5"/>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30">
              <a:extLst>
                <a:ext uri="{FF2B5EF4-FFF2-40B4-BE49-F238E27FC236}">
                  <a16:creationId xmlns:a16="http://schemas.microsoft.com/office/drawing/2014/main" id="{1124FF6A-163C-4F2D-9BA6-EDE4A9F2C08F}"/>
                </a:ext>
              </a:extLst>
            </p:cNvPr>
            <p:cNvSpPr>
              <a:spLocks/>
            </p:cNvSpPr>
            <p:nvPr/>
          </p:nvSpPr>
          <p:spPr bwMode="auto">
            <a:xfrm>
              <a:off x="8488" y="3513"/>
              <a:ext cx="13" cy="13"/>
            </a:xfrm>
            <a:custGeom>
              <a:avLst/>
              <a:gdLst>
                <a:gd name="T0" fmla="*/ 0 w 13"/>
                <a:gd name="T1" fmla="*/ 8 h 13"/>
                <a:gd name="T2" fmla="*/ 7 w 13"/>
                <a:gd name="T3" fmla="*/ 0 h 13"/>
                <a:gd name="T4" fmla="*/ 13 w 13"/>
                <a:gd name="T5" fmla="*/ 6 h 13"/>
                <a:gd name="T6" fmla="*/ 6 w 13"/>
                <a:gd name="T7" fmla="*/ 13 h 13"/>
                <a:gd name="T8" fmla="*/ 0 w 13"/>
                <a:gd name="T9" fmla="*/ 8 h 13"/>
              </a:gdLst>
              <a:ahLst/>
              <a:cxnLst>
                <a:cxn ang="0">
                  <a:pos x="T0" y="T1"/>
                </a:cxn>
                <a:cxn ang="0">
                  <a:pos x="T2" y="T3"/>
                </a:cxn>
                <a:cxn ang="0">
                  <a:pos x="T4" y="T5"/>
                </a:cxn>
                <a:cxn ang="0">
                  <a:pos x="T6" y="T7"/>
                </a:cxn>
                <a:cxn ang="0">
                  <a:pos x="T8" y="T9"/>
                </a:cxn>
              </a:cxnLst>
              <a:rect l="0" t="0" r="r" b="b"/>
              <a:pathLst>
                <a:path w="13" h="13">
                  <a:moveTo>
                    <a:pt x="0" y="8"/>
                  </a:moveTo>
                  <a:lnTo>
                    <a:pt x="7" y="0"/>
                  </a:lnTo>
                  <a:lnTo>
                    <a:pt x="13" y="6"/>
                  </a:lnTo>
                  <a:lnTo>
                    <a:pt x="6" y="13"/>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31">
              <a:extLst>
                <a:ext uri="{FF2B5EF4-FFF2-40B4-BE49-F238E27FC236}">
                  <a16:creationId xmlns:a16="http://schemas.microsoft.com/office/drawing/2014/main" id="{8FECD832-04A6-43BB-89E3-C74790DA4397}"/>
                </a:ext>
              </a:extLst>
            </p:cNvPr>
            <p:cNvSpPr>
              <a:spLocks/>
            </p:cNvSpPr>
            <p:nvPr/>
          </p:nvSpPr>
          <p:spPr bwMode="auto">
            <a:xfrm>
              <a:off x="8427" y="3455"/>
              <a:ext cx="13" cy="12"/>
            </a:xfrm>
            <a:custGeom>
              <a:avLst/>
              <a:gdLst>
                <a:gd name="T0" fmla="*/ 0 w 13"/>
                <a:gd name="T1" fmla="*/ 7 h 12"/>
                <a:gd name="T2" fmla="*/ 7 w 13"/>
                <a:gd name="T3" fmla="*/ 0 h 12"/>
                <a:gd name="T4" fmla="*/ 13 w 13"/>
                <a:gd name="T5" fmla="*/ 5 h 12"/>
                <a:gd name="T6" fmla="*/ 5 w 13"/>
                <a:gd name="T7" fmla="*/ 12 h 12"/>
                <a:gd name="T8" fmla="*/ 0 w 13"/>
                <a:gd name="T9" fmla="*/ 7 h 12"/>
              </a:gdLst>
              <a:ahLst/>
              <a:cxnLst>
                <a:cxn ang="0">
                  <a:pos x="T0" y="T1"/>
                </a:cxn>
                <a:cxn ang="0">
                  <a:pos x="T2" y="T3"/>
                </a:cxn>
                <a:cxn ang="0">
                  <a:pos x="T4" y="T5"/>
                </a:cxn>
                <a:cxn ang="0">
                  <a:pos x="T6" y="T7"/>
                </a:cxn>
                <a:cxn ang="0">
                  <a:pos x="T8" y="T9"/>
                </a:cxn>
              </a:cxnLst>
              <a:rect l="0" t="0" r="r" b="b"/>
              <a:pathLst>
                <a:path w="13" h="12">
                  <a:moveTo>
                    <a:pt x="0" y="7"/>
                  </a:moveTo>
                  <a:lnTo>
                    <a:pt x="7" y="0"/>
                  </a:lnTo>
                  <a:lnTo>
                    <a:pt x="13" y="5"/>
                  </a:lnTo>
                  <a:lnTo>
                    <a:pt x="5" y="12"/>
                  </a:lnTo>
                  <a:lnTo>
                    <a:pt x="0"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8" name="TextBox 97">
            <a:extLst>
              <a:ext uri="{FF2B5EF4-FFF2-40B4-BE49-F238E27FC236}">
                <a16:creationId xmlns:a16="http://schemas.microsoft.com/office/drawing/2014/main" id="{B9E958BD-9041-4FAE-957E-D4F513B1AFD5}"/>
              </a:ext>
            </a:extLst>
          </p:cNvPr>
          <p:cNvSpPr txBox="1"/>
          <p:nvPr/>
        </p:nvSpPr>
        <p:spPr>
          <a:xfrm>
            <a:off x="5097395" y="3904732"/>
            <a:ext cx="2103120" cy="83099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sign for scal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nitor performance</a:t>
            </a:r>
          </a:p>
        </p:txBody>
      </p:sp>
      <p:sp>
        <p:nvSpPr>
          <p:cNvPr id="80" name="TextBox 79">
            <a:extLst>
              <a:ext uri="{FF2B5EF4-FFF2-40B4-BE49-F238E27FC236}">
                <a16:creationId xmlns:a16="http://schemas.microsoft.com/office/drawing/2014/main" id="{CE2A2539-E25F-460B-8568-604916BB9B22}"/>
              </a:ext>
            </a:extLst>
          </p:cNvPr>
          <p:cNvSpPr txBox="1"/>
          <p:nvPr/>
        </p:nvSpPr>
        <p:spPr>
          <a:xfrm>
            <a:off x="7565255" y="1609031"/>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liability</a:t>
            </a:r>
          </a:p>
        </p:txBody>
      </p:sp>
      <p:grpSp>
        <p:nvGrpSpPr>
          <p:cNvPr id="88" name="Group 87" descr="Reliability pillar diagram: check mark in decorative circle">
            <a:extLst>
              <a:ext uri="{FF2B5EF4-FFF2-40B4-BE49-F238E27FC236}">
                <a16:creationId xmlns:a16="http://schemas.microsoft.com/office/drawing/2014/main" id="{8CD0481B-11CE-4AA5-9EF3-C2E0DCD10239}"/>
              </a:ext>
            </a:extLst>
          </p:cNvPr>
          <p:cNvGrpSpPr/>
          <p:nvPr/>
        </p:nvGrpSpPr>
        <p:grpSpPr>
          <a:xfrm>
            <a:off x="8140691" y="2525680"/>
            <a:ext cx="872835" cy="914400"/>
            <a:chOff x="8038192" y="2535506"/>
            <a:chExt cx="872835" cy="914400"/>
          </a:xfrm>
        </p:grpSpPr>
        <p:sp>
          <p:nvSpPr>
            <p:cNvPr id="89" name="Graphic 4" descr="Badge Tick with solid fill">
              <a:extLst>
                <a:ext uri="{FF2B5EF4-FFF2-40B4-BE49-F238E27FC236}">
                  <a16:creationId xmlns:a16="http://schemas.microsoft.com/office/drawing/2014/main" id="{0F93348B-D7F3-4445-8539-84B43D998D73}"/>
                </a:ext>
              </a:extLst>
            </p:cNvPr>
            <p:cNvSpPr/>
            <p:nvPr/>
          </p:nvSpPr>
          <p:spPr>
            <a:xfrm>
              <a:off x="8203588" y="2708773"/>
              <a:ext cx="542048" cy="567865"/>
            </a:xfrm>
            <a:custGeom>
              <a:avLst/>
              <a:gdLst>
                <a:gd name="connsiteX0" fmla="*/ 219075 w 438149"/>
                <a:gd name="connsiteY0" fmla="*/ 0 h 438150"/>
                <a:gd name="connsiteX1" fmla="*/ 0 w 438149"/>
                <a:gd name="connsiteY1" fmla="*/ 219075 h 438150"/>
                <a:gd name="connsiteX2" fmla="*/ 219075 w 438149"/>
                <a:gd name="connsiteY2" fmla="*/ 438150 h 438150"/>
                <a:gd name="connsiteX3" fmla="*/ 438150 w 438149"/>
                <a:gd name="connsiteY3" fmla="*/ 219075 h 438150"/>
                <a:gd name="connsiteX4" fmla="*/ 219075 w 438149"/>
                <a:gd name="connsiteY4" fmla="*/ 0 h 438150"/>
                <a:gd name="connsiteX5" fmla="*/ 187928 w 438149"/>
                <a:gd name="connsiteY5" fmla="*/ 308267 h 438150"/>
                <a:gd name="connsiteX6" fmla="*/ 92459 w 438149"/>
                <a:gd name="connsiteY6" fmla="*/ 212789 h 438150"/>
                <a:gd name="connsiteX7" fmla="*/ 124901 w 438149"/>
                <a:gd name="connsiteY7" fmla="*/ 180346 h 438150"/>
                <a:gd name="connsiteX8" fmla="*/ 187928 w 438149"/>
                <a:gd name="connsiteY8" fmla="*/ 243373 h 438150"/>
                <a:gd name="connsiteX9" fmla="*/ 317011 w 438149"/>
                <a:gd name="connsiteY9" fmla="*/ 114300 h 438150"/>
                <a:gd name="connsiteX10" fmla="*/ 349453 w 438149"/>
                <a:gd name="connsiteY10" fmla="*/ 146742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49" h="438150">
                  <a:moveTo>
                    <a:pt x="219075" y="0"/>
                  </a:moveTo>
                  <a:cubicBezTo>
                    <a:pt x="98084" y="0"/>
                    <a:pt x="0" y="98084"/>
                    <a:pt x="0" y="219075"/>
                  </a:cubicBezTo>
                  <a:cubicBezTo>
                    <a:pt x="0" y="340066"/>
                    <a:pt x="98084" y="438150"/>
                    <a:pt x="219075" y="438150"/>
                  </a:cubicBezTo>
                  <a:cubicBezTo>
                    <a:pt x="340067" y="438150"/>
                    <a:pt x="438150" y="340066"/>
                    <a:pt x="438150" y="219075"/>
                  </a:cubicBezTo>
                  <a:cubicBezTo>
                    <a:pt x="438014" y="98140"/>
                    <a:pt x="340010" y="136"/>
                    <a:pt x="219075" y="0"/>
                  </a:cubicBezTo>
                  <a:close/>
                  <a:moveTo>
                    <a:pt x="187928" y="308267"/>
                  </a:moveTo>
                  <a:lnTo>
                    <a:pt x="92459" y="212789"/>
                  </a:lnTo>
                  <a:lnTo>
                    <a:pt x="124901" y="180346"/>
                  </a:lnTo>
                  <a:lnTo>
                    <a:pt x="187928" y="243373"/>
                  </a:lnTo>
                  <a:lnTo>
                    <a:pt x="317011" y="114300"/>
                  </a:lnTo>
                  <a:lnTo>
                    <a:pt x="349453" y="146742"/>
                  </a:lnTo>
                  <a:close/>
                </a:path>
              </a:pathLst>
            </a:custGeom>
            <a:solidFill>
              <a:srgbClr val="0078D4"/>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Graphic 4" descr="Badge Tick with solid fill">
              <a:extLst>
                <a:ext uri="{FF2B5EF4-FFF2-40B4-BE49-F238E27FC236}">
                  <a16:creationId xmlns:a16="http://schemas.microsoft.com/office/drawing/2014/main" id="{5B4A4DF1-C651-4135-A67B-7EA26BC310D6}"/>
                </a:ext>
              </a:extLst>
            </p:cNvPr>
            <p:cNvSpPr/>
            <p:nvPr/>
          </p:nvSpPr>
          <p:spPr>
            <a:xfrm>
              <a:off x="8038192" y="2535506"/>
              <a:ext cx="872835" cy="914400"/>
            </a:xfrm>
            <a:custGeom>
              <a:avLst/>
              <a:gdLst>
                <a:gd name="connsiteX0" fmla="*/ 677762 w 705532"/>
                <a:gd name="connsiteY0" fmla="*/ 364812 h 705526"/>
                <a:gd name="connsiteX1" fmla="*/ 677762 w 705532"/>
                <a:gd name="connsiteY1" fmla="*/ 340714 h 705526"/>
                <a:gd name="connsiteX2" fmla="*/ 701232 w 705532"/>
                <a:gd name="connsiteY2" fmla="*/ 311958 h 705526"/>
                <a:gd name="connsiteX3" fmla="*/ 698533 w 705532"/>
                <a:gd name="connsiteY3" fmla="*/ 285153 h 705526"/>
                <a:gd name="connsiteX4" fmla="*/ 696793 w 705532"/>
                <a:gd name="connsiteY4" fmla="*/ 283888 h 705526"/>
                <a:gd name="connsiteX5" fmla="*/ 665580 w 705532"/>
                <a:gd name="connsiteY5" fmla="*/ 263790 h 705526"/>
                <a:gd name="connsiteX6" fmla="*/ 658131 w 705532"/>
                <a:gd name="connsiteY6" fmla="*/ 240882 h 705526"/>
                <a:gd name="connsiteX7" fmla="*/ 671571 w 705532"/>
                <a:gd name="connsiteY7" fmla="*/ 206269 h 705526"/>
                <a:gd name="connsiteX8" fmla="*/ 660712 w 705532"/>
                <a:gd name="connsiteY8" fmla="*/ 181613 h 705526"/>
                <a:gd name="connsiteX9" fmla="*/ 658674 w 705532"/>
                <a:gd name="connsiteY9" fmla="*/ 180951 h 705526"/>
                <a:gd name="connsiteX10" fmla="*/ 622774 w 705532"/>
                <a:gd name="connsiteY10" fmla="*/ 171483 h 705526"/>
                <a:gd name="connsiteX11" fmla="*/ 608611 w 705532"/>
                <a:gd name="connsiteY11" fmla="*/ 151995 h 705526"/>
                <a:gd name="connsiteX12" fmla="*/ 610697 w 705532"/>
                <a:gd name="connsiteY12" fmla="*/ 114924 h 705526"/>
                <a:gd name="connsiteX13" fmla="*/ 592745 w 705532"/>
                <a:gd name="connsiteY13" fmla="*/ 94836 h 705526"/>
                <a:gd name="connsiteX14" fmla="*/ 590608 w 705532"/>
                <a:gd name="connsiteY14" fmla="*/ 94836 h 705526"/>
                <a:gd name="connsiteX15" fmla="*/ 553537 w 705532"/>
                <a:gd name="connsiteY15" fmla="*/ 96922 h 705526"/>
                <a:gd name="connsiteX16" fmla="*/ 534049 w 705532"/>
                <a:gd name="connsiteY16" fmla="*/ 82758 h 705526"/>
                <a:gd name="connsiteX17" fmla="*/ 524581 w 705532"/>
                <a:gd name="connsiteY17" fmla="*/ 46858 h 705526"/>
                <a:gd name="connsiteX18" fmla="*/ 501301 w 705532"/>
                <a:gd name="connsiteY18" fmla="*/ 33299 h 705526"/>
                <a:gd name="connsiteX19" fmla="*/ 499264 w 705532"/>
                <a:gd name="connsiteY19" fmla="*/ 33961 h 705526"/>
                <a:gd name="connsiteX20" fmla="*/ 464650 w 705532"/>
                <a:gd name="connsiteY20" fmla="*/ 47401 h 705526"/>
                <a:gd name="connsiteX21" fmla="*/ 441742 w 705532"/>
                <a:gd name="connsiteY21" fmla="*/ 39953 h 705526"/>
                <a:gd name="connsiteX22" fmla="*/ 421644 w 705532"/>
                <a:gd name="connsiteY22" fmla="*/ 8739 h 705526"/>
                <a:gd name="connsiteX23" fmla="*/ 395315 w 705532"/>
                <a:gd name="connsiteY23" fmla="*/ 3036 h 705526"/>
                <a:gd name="connsiteX24" fmla="*/ 393574 w 705532"/>
                <a:gd name="connsiteY24" fmla="*/ 4300 h 705526"/>
                <a:gd name="connsiteX25" fmla="*/ 364818 w 705532"/>
                <a:gd name="connsiteY25" fmla="*/ 27770 h 705526"/>
                <a:gd name="connsiteX26" fmla="*/ 340720 w 705532"/>
                <a:gd name="connsiteY26" fmla="*/ 27770 h 705526"/>
                <a:gd name="connsiteX27" fmla="*/ 311964 w 705532"/>
                <a:gd name="connsiteY27" fmla="*/ 4300 h 705526"/>
                <a:gd name="connsiteX28" fmla="*/ 285159 w 705532"/>
                <a:gd name="connsiteY28" fmla="*/ 6999 h 705526"/>
                <a:gd name="connsiteX29" fmla="*/ 283894 w 705532"/>
                <a:gd name="connsiteY29" fmla="*/ 8739 h 705526"/>
                <a:gd name="connsiteX30" fmla="*/ 263796 w 705532"/>
                <a:gd name="connsiteY30" fmla="*/ 39953 h 705526"/>
                <a:gd name="connsiteX31" fmla="*/ 240889 w 705532"/>
                <a:gd name="connsiteY31" fmla="*/ 47401 h 705526"/>
                <a:gd name="connsiteX32" fmla="*/ 206275 w 705532"/>
                <a:gd name="connsiteY32" fmla="*/ 33961 h 705526"/>
                <a:gd name="connsiteX33" fmla="*/ 181619 w 705532"/>
                <a:gd name="connsiteY33" fmla="*/ 44821 h 705526"/>
                <a:gd name="connsiteX34" fmla="*/ 180957 w 705532"/>
                <a:gd name="connsiteY34" fmla="*/ 46858 h 705526"/>
                <a:gd name="connsiteX35" fmla="*/ 171489 w 705532"/>
                <a:gd name="connsiteY35" fmla="*/ 82758 h 705526"/>
                <a:gd name="connsiteX36" fmla="*/ 152001 w 705532"/>
                <a:gd name="connsiteY36" fmla="*/ 96922 h 705526"/>
                <a:gd name="connsiteX37" fmla="*/ 114930 w 705532"/>
                <a:gd name="connsiteY37" fmla="*/ 94836 h 705526"/>
                <a:gd name="connsiteX38" fmla="*/ 94842 w 705532"/>
                <a:gd name="connsiteY38" fmla="*/ 112787 h 705526"/>
                <a:gd name="connsiteX39" fmla="*/ 94842 w 705532"/>
                <a:gd name="connsiteY39" fmla="*/ 114924 h 705526"/>
                <a:gd name="connsiteX40" fmla="*/ 96928 w 705532"/>
                <a:gd name="connsiteY40" fmla="*/ 151995 h 705526"/>
                <a:gd name="connsiteX41" fmla="*/ 82764 w 705532"/>
                <a:gd name="connsiteY41" fmla="*/ 171483 h 705526"/>
                <a:gd name="connsiteX42" fmla="*/ 46864 w 705532"/>
                <a:gd name="connsiteY42" fmla="*/ 180951 h 705526"/>
                <a:gd name="connsiteX43" fmla="*/ 33305 w 705532"/>
                <a:gd name="connsiteY43" fmla="*/ 204231 h 705526"/>
                <a:gd name="connsiteX44" fmla="*/ 33967 w 705532"/>
                <a:gd name="connsiteY44" fmla="*/ 206269 h 705526"/>
                <a:gd name="connsiteX45" fmla="*/ 47407 w 705532"/>
                <a:gd name="connsiteY45" fmla="*/ 240882 h 705526"/>
                <a:gd name="connsiteX46" fmla="*/ 39959 w 705532"/>
                <a:gd name="connsiteY46" fmla="*/ 263790 h 705526"/>
                <a:gd name="connsiteX47" fmla="*/ 8745 w 705532"/>
                <a:gd name="connsiteY47" fmla="*/ 283888 h 705526"/>
                <a:gd name="connsiteX48" fmla="*/ 3031 w 705532"/>
                <a:gd name="connsiteY48" fmla="*/ 310216 h 705526"/>
                <a:gd name="connsiteX49" fmla="*/ 4297 w 705532"/>
                <a:gd name="connsiteY49" fmla="*/ 311958 h 705526"/>
                <a:gd name="connsiteX50" fmla="*/ 27776 w 705532"/>
                <a:gd name="connsiteY50" fmla="*/ 340714 h 705526"/>
                <a:gd name="connsiteX51" fmla="*/ 27776 w 705532"/>
                <a:gd name="connsiteY51" fmla="*/ 364812 h 705526"/>
                <a:gd name="connsiteX52" fmla="*/ 4297 w 705532"/>
                <a:gd name="connsiteY52" fmla="*/ 393568 h 705526"/>
                <a:gd name="connsiteX53" fmla="*/ 7003 w 705532"/>
                <a:gd name="connsiteY53" fmla="*/ 420372 h 705526"/>
                <a:gd name="connsiteX54" fmla="*/ 8745 w 705532"/>
                <a:gd name="connsiteY54" fmla="*/ 421638 h 705526"/>
                <a:gd name="connsiteX55" fmla="*/ 39959 w 705532"/>
                <a:gd name="connsiteY55" fmla="*/ 441736 h 705526"/>
                <a:gd name="connsiteX56" fmla="*/ 47407 w 705532"/>
                <a:gd name="connsiteY56" fmla="*/ 464644 h 705526"/>
                <a:gd name="connsiteX57" fmla="*/ 33967 w 705532"/>
                <a:gd name="connsiteY57" fmla="*/ 499258 h 705526"/>
                <a:gd name="connsiteX58" fmla="*/ 44827 w 705532"/>
                <a:gd name="connsiteY58" fmla="*/ 523913 h 705526"/>
                <a:gd name="connsiteX59" fmla="*/ 46864 w 705532"/>
                <a:gd name="connsiteY59" fmla="*/ 524575 h 705526"/>
                <a:gd name="connsiteX60" fmla="*/ 82764 w 705532"/>
                <a:gd name="connsiteY60" fmla="*/ 534043 h 705526"/>
                <a:gd name="connsiteX61" fmla="*/ 96928 w 705532"/>
                <a:gd name="connsiteY61" fmla="*/ 553531 h 705526"/>
                <a:gd name="connsiteX62" fmla="*/ 94842 w 705532"/>
                <a:gd name="connsiteY62" fmla="*/ 590602 h 705526"/>
                <a:gd name="connsiteX63" fmla="*/ 112793 w 705532"/>
                <a:gd name="connsiteY63" fmla="*/ 610691 h 705526"/>
                <a:gd name="connsiteX64" fmla="*/ 114930 w 705532"/>
                <a:gd name="connsiteY64" fmla="*/ 610691 h 705526"/>
                <a:gd name="connsiteX65" fmla="*/ 152001 w 705532"/>
                <a:gd name="connsiteY65" fmla="*/ 608605 h 705526"/>
                <a:gd name="connsiteX66" fmla="*/ 171489 w 705532"/>
                <a:gd name="connsiteY66" fmla="*/ 622768 h 705526"/>
                <a:gd name="connsiteX67" fmla="*/ 180957 w 705532"/>
                <a:gd name="connsiteY67" fmla="*/ 658668 h 705526"/>
                <a:gd name="connsiteX68" fmla="*/ 204237 w 705532"/>
                <a:gd name="connsiteY68" fmla="*/ 672227 h 705526"/>
                <a:gd name="connsiteX69" fmla="*/ 206275 w 705532"/>
                <a:gd name="connsiteY69" fmla="*/ 671565 h 705526"/>
                <a:gd name="connsiteX70" fmla="*/ 240889 w 705532"/>
                <a:gd name="connsiteY70" fmla="*/ 658125 h 705526"/>
                <a:gd name="connsiteX71" fmla="*/ 263796 w 705532"/>
                <a:gd name="connsiteY71" fmla="*/ 665574 h 705526"/>
                <a:gd name="connsiteX72" fmla="*/ 283894 w 705532"/>
                <a:gd name="connsiteY72" fmla="*/ 696787 h 705526"/>
                <a:gd name="connsiteX73" fmla="*/ 310224 w 705532"/>
                <a:gd name="connsiteY73" fmla="*/ 702491 h 705526"/>
                <a:gd name="connsiteX74" fmla="*/ 311964 w 705532"/>
                <a:gd name="connsiteY74" fmla="*/ 701226 h 705526"/>
                <a:gd name="connsiteX75" fmla="*/ 340720 w 705532"/>
                <a:gd name="connsiteY75" fmla="*/ 677756 h 705526"/>
                <a:gd name="connsiteX76" fmla="*/ 364818 w 705532"/>
                <a:gd name="connsiteY76" fmla="*/ 677756 h 705526"/>
                <a:gd name="connsiteX77" fmla="*/ 393574 w 705532"/>
                <a:gd name="connsiteY77" fmla="*/ 701226 h 705526"/>
                <a:gd name="connsiteX78" fmla="*/ 420380 w 705532"/>
                <a:gd name="connsiteY78" fmla="*/ 698527 h 705526"/>
                <a:gd name="connsiteX79" fmla="*/ 421644 w 705532"/>
                <a:gd name="connsiteY79" fmla="*/ 696787 h 705526"/>
                <a:gd name="connsiteX80" fmla="*/ 441742 w 705532"/>
                <a:gd name="connsiteY80" fmla="*/ 665574 h 705526"/>
                <a:gd name="connsiteX81" fmla="*/ 464650 w 705532"/>
                <a:gd name="connsiteY81" fmla="*/ 658125 h 705526"/>
                <a:gd name="connsiteX82" fmla="*/ 499264 w 705532"/>
                <a:gd name="connsiteY82" fmla="*/ 671565 h 705526"/>
                <a:gd name="connsiteX83" fmla="*/ 523919 w 705532"/>
                <a:gd name="connsiteY83" fmla="*/ 660705 h 705526"/>
                <a:gd name="connsiteX84" fmla="*/ 524581 w 705532"/>
                <a:gd name="connsiteY84" fmla="*/ 658668 h 705526"/>
                <a:gd name="connsiteX85" fmla="*/ 534049 w 705532"/>
                <a:gd name="connsiteY85" fmla="*/ 622768 h 705526"/>
                <a:gd name="connsiteX86" fmla="*/ 553537 w 705532"/>
                <a:gd name="connsiteY86" fmla="*/ 608605 h 705526"/>
                <a:gd name="connsiteX87" fmla="*/ 590608 w 705532"/>
                <a:gd name="connsiteY87" fmla="*/ 610691 h 705526"/>
                <a:gd name="connsiteX88" fmla="*/ 610697 w 705532"/>
                <a:gd name="connsiteY88" fmla="*/ 592739 h 705526"/>
                <a:gd name="connsiteX89" fmla="*/ 610697 w 705532"/>
                <a:gd name="connsiteY89" fmla="*/ 590602 h 705526"/>
                <a:gd name="connsiteX90" fmla="*/ 608611 w 705532"/>
                <a:gd name="connsiteY90" fmla="*/ 553531 h 705526"/>
                <a:gd name="connsiteX91" fmla="*/ 622774 w 705532"/>
                <a:gd name="connsiteY91" fmla="*/ 534043 h 705526"/>
                <a:gd name="connsiteX92" fmla="*/ 658674 w 705532"/>
                <a:gd name="connsiteY92" fmla="*/ 524575 h 705526"/>
                <a:gd name="connsiteX93" fmla="*/ 672233 w 705532"/>
                <a:gd name="connsiteY93" fmla="*/ 501295 h 705526"/>
                <a:gd name="connsiteX94" fmla="*/ 671571 w 705532"/>
                <a:gd name="connsiteY94" fmla="*/ 499258 h 705526"/>
                <a:gd name="connsiteX95" fmla="*/ 658131 w 705532"/>
                <a:gd name="connsiteY95" fmla="*/ 464644 h 705526"/>
                <a:gd name="connsiteX96" fmla="*/ 665580 w 705532"/>
                <a:gd name="connsiteY96" fmla="*/ 441736 h 705526"/>
                <a:gd name="connsiteX97" fmla="*/ 696793 w 705532"/>
                <a:gd name="connsiteY97" fmla="*/ 421638 h 705526"/>
                <a:gd name="connsiteX98" fmla="*/ 702497 w 705532"/>
                <a:gd name="connsiteY98" fmla="*/ 395308 h 705526"/>
                <a:gd name="connsiteX99" fmla="*/ 701232 w 705532"/>
                <a:gd name="connsiteY99" fmla="*/ 393568 h 705526"/>
                <a:gd name="connsiteX100" fmla="*/ 352769 w 705532"/>
                <a:gd name="connsiteY100" fmla="*/ 600413 h 705526"/>
                <a:gd name="connsiteX101" fmla="*/ 105119 w 705532"/>
                <a:gd name="connsiteY101" fmla="*/ 352763 h 705526"/>
                <a:gd name="connsiteX102" fmla="*/ 352769 w 705532"/>
                <a:gd name="connsiteY102" fmla="*/ 105113 h 705526"/>
                <a:gd name="connsiteX103" fmla="*/ 600419 w 705532"/>
                <a:gd name="connsiteY103" fmla="*/ 352763 h 705526"/>
                <a:gd name="connsiteX104" fmla="*/ 352769 w 705532"/>
                <a:gd name="connsiteY104" fmla="*/ 600413 h 7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05532" h="705526">
                  <a:moveTo>
                    <a:pt x="677762" y="364812"/>
                  </a:moveTo>
                  <a:cubicBezTo>
                    <a:pt x="672036" y="357800"/>
                    <a:pt x="672036" y="347726"/>
                    <a:pt x="677762" y="340714"/>
                  </a:cubicBezTo>
                  <a:lnTo>
                    <a:pt x="701232" y="311958"/>
                  </a:lnTo>
                  <a:cubicBezTo>
                    <a:pt x="707889" y="303810"/>
                    <a:pt x="706680" y="291810"/>
                    <a:pt x="698533" y="285153"/>
                  </a:cubicBezTo>
                  <a:cubicBezTo>
                    <a:pt x="697977" y="284698"/>
                    <a:pt x="697396" y="284276"/>
                    <a:pt x="696793" y="283888"/>
                  </a:cubicBezTo>
                  <a:lnTo>
                    <a:pt x="665580" y="263790"/>
                  </a:lnTo>
                  <a:cubicBezTo>
                    <a:pt x="657971" y="258892"/>
                    <a:pt x="654858" y="249318"/>
                    <a:pt x="658131" y="240882"/>
                  </a:cubicBezTo>
                  <a:lnTo>
                    <a:pt x="671571" y="206269"/>
                  </a:lnTo>
                  <a:cubicBezTo>
                    <a:pt x="675381" y="196462"/>
                    <a:pt x="670518" y="185423"/>
                    <a:pt x="660712" y="181613"/>
                  </a:cubicBezTo>
                  <a:cubicBezTo>
                    <a:pt x="660046" y="181355"/>
                    <a:pt x="659366" y="181133"/>
                    <a:pt x="658674" y="180951"/>
                  </a:cubicBezTo>
                  <a:lnTo>
                    <a:pt x="622774" y="171483"/>
                  </a:lnTo>
                  <a:cubicBezTo>
                    <a:pt x="614024" y="169176"/>
                    <a:pt x="608104" y="161031"/>
                    <a:pt x="608611" y="151995"/>
                  </a:cubicBezTo>
                  <a:lnTo>
                    <a:pt x="610697" y="114924"/>
                  </a:lnTo>
                  <a:cubicBezTo>
                    <a:pt x="611286" y="104420"/>
                    <a:pt x="603249" y="95425"/>
                    <a:pt x="592745" y="94836"/>
                  </a:cubicBezTo>
                  <a:cubicBezTo>
                    <a:pt x="592033" y="94796"/>
                    <a:pt x="591320" y="94796"/>
                    <a:pt x="590608" y="94836"/>
                  </a:cubicBezTo>
                  <a:lnTo>
                    <a:pt x="553537" y="96922"/>
                  </a:lnTo>
                  <a:cubicBezTo>
                    <a:pt x="544502" y="97428"/>
                    <a:pt x="536356" y="91508"/>
                    <a:pt x="534049" y="82758"/>
                  </a:cubicBezTo>
                  <a:lnTo>
                    <a:pt x="524581" y="46858"/>
                  </a:lnTo>
                  <a:cubicBezTo>
                    <a:pt x="521897" y="36685"/>
                    <a:pt x="511474" y="30615"/>
                    <a:pt x="501301" y="33299"/>
                  </a:cubicBezTo>
                  <a:cubicBezTo>
                    <a:pt x="500611" y="33481"/>
                    <a:pt x="499930" y="33702"/>
                    <a:pt x="499264" y="33961"/>
                  </a:cubicBezTo>
                  <a:lnTo>
                    <a:pt x="464650" y="47401"/>
                  </a:lnTo>
                  <a:cubicBezTo>
                    <a:pt x="456214" y="50674"/>
                    <a:pt x="446640" y="47560"/>
                    <a:pt x="441742" y="39953"/>
                  </a:cubicBezTo>
                  <a:lnTo>
                    <a:pt x="421644" y="8739"/>
                  </a:lnTo>
                  <a:cubicBezTo>
                    <a:pt x="415949" y="-107"/>
                    <a:pt x="404160" y="-2660"/>
                    <a:pt x="395315" y="3036"/>
                  </a:cubicBezTo>
                  <a:cubicBezTo>
                    <a:pt x="394711" y="3424"/>
                    <a:pt x="394130" y="3846"/>
                    <a:pt x="393574" y="4300"/>
                  </a:cubicBezTo>
                  <a:lnTo>
                    <a:pt x="364818" y="27770"/>
                  </a:lnTo>
                  <a:cubicBezTo>
                    <a:pt x="357806" y="33496"/>
                    <a:pt x="347732" y="33496"/>
                    <a:pt x="340720" y="27770"/>
                  </a:cubicBezTo>
                  <a:lnTo>
                    <a:pt x="311964" y="4300"/>
                  </a:lnTo>
                  <a:cubicBezTo>
                    <a:pt x="303816" y="-2357"/>
                    <a:pt x="291816" y="-1148"/>
                    <a:pt x="285159" y="6999"/>
                  </a:cubicBezTo>
                  <a:cubicBezTo>
                    <a:pt x="284705" y="7555"/>
                    <a:pt x="284283" y="8136"/>
                    <a:pt x="283894" y="8739"/>
                  </a:cubicBezTo>
                  <a:lnTo>
                    <a:pt x="263796" y="39953"/>
                  </a:lnTo>
                  <a:cubicBezTo>
                    <a:pt x="258898" y="47560"/>
                    <a:pt x="249324" y="50674"/>
                    <a:pt x="240889" y="47401"/>
                  </a:cubicBezTo>
                  <a:lnTo>
                    <a:pt x="206275" y="33961"/>
                  </a:lnTo>
                  <a:cubicBezTo>
                    <a:pt x="196468" y="30151"/>
                    <a:pt x="185429" y="35014"/>
                    <a:pt x="181619" y="44821"/>
                  </a:cubicBezTo>
                  <a:cubicBezTo>
                    <a:pt x="181361" y="45487"/>
                    <a:pt x="181139" y="46167"/>
                    <a:pt x="180957" y="46858"/>
                  </a:cubicBezTo>
                  <a:lnTo>
                    <a:pt x="171489" y="82758"/>
                  </a:lnTo>
                  <a:cubicBezTo>
                    <a:pt x="169182" y="91508"/>
                    <a:pt x="161037" y="97428"/>
                    <a:pt x="152001" y="96922"/>
                  </a:cubicBezTo>
                  <a:lnTo>
                    <a:pt x="114930" y="94836"/>
                  </a:lnTo>
                  <a:cubicBezTo>
                    <a:pt x="104426" y="94246"/>
                    <a:pt x="95431" y="102283"/>
                    <a:pt x="94842" y="112787"/>
                  </a:cubicBezTo>
                  <a:cubicBezTo>
                    <a:pt x="94802" y="113499"/>
                    <a:pt x="94802" y="114212"/>
                    <a:pt x="94842" y="114924"/>
                  </a:cubicBezTo>
                  <a:lnTo>
                    <a:pt x="96928" y="151995"/>
                  </a:lnTo>
                  <a:cubicBezTo>
                    <a:pt x="97434" y="161031"/>
                    <a:pt x="91515" y="169176"/>
                    <a:pt x="82764" y="171483"/>
                  </a:cubicBezTo>
                  <a:lnTo>
                    <a:pt x="46864" y="180951"/>
                  </a:lnTo>
                  <a:cubicBezTo>
                    <a:pt x="36692" y="183635"/>
                    <a:pt x="30621" y="194058"/>
                    <a:pt x="33305" y="204231"/>
                  </a:cubicBezTo>
                  <a:cubicBezTo>
                    <a:pt x="33487" y="204922"/>
                    <a:pt x="33708" y="205603"/>
                    <a:pt x="33967" y="206269"/>
                  </a:cubicBezTo>
                  <a:lnTo>
                    <a:pt x="47407" y="240882"/>
                  </a:lnTo>
                  <a:cubicBezTo>
                    <a:pt x="50680" y="249319"/>
                    <a:pt x="47566" y="258892"/>
                    <a:pt x="39959" y="263790"/>
                  </a:cubicBezTo>
                  <a:lnTo>
                    <a:pt x="8745" y="283888"/>
                  </a:lnTo>
                  <a:cubicBezTo>
                    <a:pt x="-103" y="289580"/>
                    <a:pt x="-2661" y="301368"/>
                    <a:pt x="3031" y="310216"/>
                  </a:cubicBezTo>
                  <a:cubicBezTo>
                    <a:pt x="3420" y="310820"/>
                    <a:pt x="3843" y="311402"/>
                    <a:pt x="4297" y="311958"/>
                  </a:cubicBezTo>
                  <a:lnTo>
                    <a:pt x="27776" y="340714"/>
                  </a:lnTo>
                  <a:cubicBezTo>
                    <a:pt x="33503" y="347726"/>
                    <a:pt x="33503" y="357800"/>
                    <a:pt x="27776" y="364812"/>
                  </a:cubicBezTo>
                  <a:lnTo>
                    <a:pt x="4297" y="393568"/>
                  </a:lnTo>
                  <a:cubicBezTo>
                    <a:pt x="-2358" y="401717"/>
                    <a:pt x="-1146" y="413718"/>
                    <a:pt x="7003" y="420372"/>
                  </a:cubicBezTo>
                  <a:cubicBezTo>
                    <a:pt x="7559" y="420827"/>
                    <a:pt x="8141" y="421250"/>
                    <a:pt x="8745" y="421638"/>
                  </a:cubicBezTo>
                  <a:lnTo>
                    <a:pt x="39959" y="441736"/>
                  </a:lnTo>
                  <a:cubicBezTo>
                    <a:pt x="47566" y="446634"/>
                    <a:pt x="50680" y="456208"/>
                    <a:pt x="47407" y="464644"/>
                  </a:cubicBezTo>
                  <a:lnTo>
                    <a:pt x="33967" y="499258"/>
                  </a:lnTo>
                  <a:cubicBezTo>
                    <a:pt x="30157" y="509064"/>
                    <a:pt x="35020" y="520103"/>
                    <a:pt x="44827" y="523913"/>
                  </a:cubicBezTo>
                  <a:cubicBezTo>
                    <a:pt x="45493" y="524171"/>
                    <a:pt x="46173" y="524393"/>
                    <a:pt x="46864" y="524575"/>
                  </a:cubicBezTo>
                  <a:lnTo>
                    <a:pt x="82764" y="534043"/>
                  </a:lnTo>
                  <a:cubicBezTo>
                    <a:pt x="91515" y="536350"/>
                    <a:pt x="97434" y="544496"/>
                    <a:pt x="96928" y="553531"/>
                  </a:cubicBezTo>
                  <a:lnTo>
                    <a:pt x="94842" y="590602"/>
                  </a:lnTo>
                  <a:cubicBezTo>
                    <a:pt x="94252" y="601106"/>
                    <a:pt x="102289" y="610101"/>
                    <a:pt x="112793" y="610691"/>
                  </a:cubicBezTo>
                  <a:cubicBezTo>
                    <a:pt x="113505" y="610731"/>
                    <a:pt x="114218" y="610731"/>
                    <a:pt x="114930" y="610691"/>
                  </a:cubicBezTo>
                  <a:lnTo>
                    <a:pt x="152001" y="608605"/>
                  </a:lnTo>
                  <a:cubicBezTo>
                    <a:pt x="161037" y="608098"/>
                    <a:pt x="169182" y="614018"/>
                    <a:pt x="171489" y="622768"/>
                  </a:cubicBezTo>
                  <a:lnTo>
                    <a:pt x="180957" y="658668"/>
                  </a:lnTo>
                  <a:cubicBezTo>
                    <a:pt x="183641" y="668841"/>
                    <a:pt x="194065" y="674911"/>
                    <a:pt x="204237" y="672227"/>
                  </a:cubicBezTo>
                  <a:cubicBezTo>
                    <a:pt x="204928" y="672045"/>
                    <a:pt x="205609" y="671824"/>
                    <a:pt x="206275" y="671565"/>
                  </a:cubicBezTo>
                  <a:lnTo>
                    <a:pt x="240889" y="658125"/>
                  </a:lnTo>
                  <a:cubicBezTo>
                    <a:pt x="249324" y="654852"/>
                    <a:pt x="258898" y="657966"/>
                    <a:pt x="263796" y="665574"/>
                  </a:cubicBezTo>
                  <a:lnTo>
                    <a:pt x="283894" y="696787"/>
                  </a:lnTo>
                  <a:cubicBezTo>
                    <a:pt x="289590" y="705633"/>
                    <a:pt x="301378" y="708187"/>
                    <a:pt x="310224" y="702491"/>
                  </a:cubicBezTo>
                  <a:cubicBezTo>
                    <a:pt x="310828" y="702102"/>
                    <a:pt x="311409" y="701680"/>
                    <a:pt x="311964" y="701226"/>
                  </a:cubicBezTo>
                  <a:lnTo>
                    <a:pt x="340720" y="677756"/>
                  </a:lnTo>
                  <a:cubicBezTo>
                    <a:pt x="347732" y="672030"/>
                    <a:pt x="357806" y="672030"/>
                    <a:pt x="364818" y="677756"/>
                  </a:cubicBezTo>
                  <a:lnTo>
                    <a:pt x="393574" y="701226"/>
                  </a:lnTo>
                  <a:cubicBezTo>
                    <a:pt x="401722" y="707883"/>
                    <a:pt x="413723" y="706674"/>
                    <a:pt x="420380" y="698527"/>
                  </a:cubicBezTo>
                  <a:cubicBezTo>
                    <a:pt x="420834" y="697971"/>
                    <a:pt x="421256" y="697390"/>
                    <a:pt x="421644" y="696787"/>
                  </a:cubicBezTo>
                  <a:lnTo>
                    <a:pt x="441742" y="665574"/>
                  </a:lnTo>
                  <a:cubicBezTo>
                    <a:pt x="446640" y="657966"/>
                    <a:pt x="456215" y="654852"/>
                    <a:pt x="464650" y="658125"/>
                  </a:cubicBezTo>
                  <a:lnTo>
                    <a:pt x="499264" y="671565"/>
                  </a:lnTo>
                  <a:cubicBezTo>
                    <a:pt x="509071" y="675375"/>
                    <a:pt x="520109" y="670512"/>
                    <a:pt x="523919" y="660705"/>
                  </a:cubicBezTo>
                  <a:cubicBezTo>
                    <a:pt x="524177" y="660040"/>
                    <a:pt x="524399" y="659359"/>
                    <a:pt x="524581" y="658668"/>
                  </a:cubicBezTo>
                  <a:lnTo>
                    <a:pt x="534049" y="622768"/>
                  </a:lnTo>
                  <a:cubicBezTo>
                    <a:pt x="536356" y="614018"/>
                    <a:pt x="544502" y="608098"/>
                    <a:pt x="553537" y="608605"/>
                  </a:cubicBezTo>
                  <a:lnTo>
                    <a:pt x="590608" y="610691"/>
                  </a:lnTo>
                  <a:cubicBezTo>
                    <a:pt x="601113" y="611280"/>
                    <a:pt x="610107" y="603243"/>
                    <a:pt x="610697" y="592739"/>
                  </a:cubicBezTo>
                  <a:cubicBezTo>
                    <a:pt x="610737" y="592027"/>
                    <a:pt x="610737" y="591314"/>
                    <a:pt x="610697" y="590602"/>
                  </a:cubicBezTo>
                  <a:lnTo>
                    <a:pt x="608611" y="553531"/>
                  </a:lnTo>
                  <a:cubicBezTo>
                    <a:pt x="608104" y="544496"/>
                    <a:pt x="614024" y="536350"/>
                    <a:pt x="622774" y="534043"/>
                  </a:cubicBezTo>
                  <a:lnTo>
                    <a:pt x="658674" y="524575"/>
                  </a:lnTo>
                  <a:cubicBezTo>
                    <a:pt x="668847" y="521891"/>
                    <a:pt x="674917" y="511468"/>
                    <a:pt x="672233" y="501295"/>
                  </a:cubicBezTo>
                  <a:cubicBezTo>
                    <a:pt x="672051" y="500604"/>
                    <a:pt x="671830" y="499923"/>
                    <a:pt x="671571" y="499258"/>
                  </a:cubicBezTo>
                  <a:lnTo>
                    <a:pt x="658131" y="464644"/>
                  </a:lnTo>
                  <a:cubicBezTo>
                    <a:pt x="654858" y="456207"/>
                    <a:pt x="657972" y="446634"/>
                    <a:pt x="665580" y="441736"/>
                  </a:cubicBezTo>
                  <a:lnTo>
                    <a:pt x="696793" y="421638"/>
                  </a:lnTo>
                  <a:cubicBezTo>
                    <a:pt x="705639" y="415942"/>
                    <a:pt x="708193" y="404154"/>
                    <a:pt x="702497" y="395308"/>
                  </a:cubicBezTo>
                  <a:cubicBezTo>
                    <a:pt x="702108" y="394704"/>
                    <a:pt x="701686" y="394123"/>
                    <a:pt x="701232" y="393568"/>
                  </a:cubicBezTo>
                  <a:close/>
                  <a:moveTo>
                    <a:pt x="352769" y="600413"/>
                  </a:moveTo>
                  <a:cubicBezTo>
                    <a:pt x="215996" y="600413"/>
                    <a:pt x="105119" y="489536"/>
                    <a:pt x="105119" y="352763"/>
                  </a:cubicBezTo>
                  <a:cubicBezTo>
                    <a:pt x="105119" y="215990"/>
                    <a:pt x="215996" y="105113"/>
                    <a:pt x="352769" y="105113"/>
                  </a:cubicBezTo>
                  <a:cubicBezTo>
                    <a:pt x="489542" y="105113"/>
                    <a:pt x="600419" y="215990"/>
                    <a:pt x="600419" y="352763"/>
                  </a:cubicBezTo>
                  <a:cubicBezTo>
                    <a:pt x="600267" y="489473"/>
                    <a:pt x="489480" y="600261"/>
                    <a:pt x="352769" y="600413"/>
                  </a:cubicBezTo>
                  <a:close/>
                </a:path>
              </a:pathLst>
            </a:custGeom>
            <a:solidFill>
              <a:schemeClr val="bg1"/>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99" name="TextBox 98">
            <a:extLst>
              <a:ext uri="{FF2B5EF4-FFF2-40B4-BE49-F238E27FC236}">
                <a16:creationId xmlns:a16="http://schemas.microsoft.com/office/drawing/2014/main" id="{CBF46320-316E-4670-A330-0C7D9E47E740}"/>
              </a:ext>
            </a:extLst>
          </p:cNvPr>
          <p:cNvSpPr txBox="1"/>
          <p:nvPr/>
        </p:nvSpPr>
        <p:spPr>
          <a:xfrm>
            <a:off x="7428095" y="3904732"/>
            <a:ext cx="2103120" cy="255454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fine requiremen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est with simulations and forced failover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ploy consistentl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nitor health</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spond to failure and disaster</a:t>
            </a:r>
          </a:p>
        </p:txBody>
      </p:sp>
      <p:sp>
        <p:nvSpPr>
          <p:cNvPr id="95" name="TextBox 94">
            <a:extLst>
              <a:ext uri="{FF2B5EF4-FFF2-40B4-BE49-F238E27FC236}">
                <a16:creationId xmlns:a16="http://schemas.microsoft.com/office/drawing/2014/main" id="{6796061B-A46F-43DB-AF65-2E830062685E}"/>
              </a:ext>
            </a:extLst>
          </p:cNvPr>
          <p:cNvSpPr txBox="1"/>
          <p:nvPr/>
        </p:nvSpPr>
        <p:spPr>
          <a:xfrm>
            <a:off x="9895954" y="1609031"/>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a:t>
            </a:r>
          </a:p>
        </p:txBody>
      </p:sp>
      <p:grpSp>
        <p:nvGrpSpPr>
          <p:cNvPr id="91" name="Group 90" descr="Security pillar diagram: lock">
            <a:extLst>
              <a:ext uri="{FF2B5EF4-FFF2-40B4-BE49-F238E27FC236}">
                <a16:creationId xmlns:a16="http://schemas.microsoft.com/office/drawing/2014/main" id="{18AF9694-622D-4DE8-A19E-B3E1931893F9}"/>
              </a:ext>
            </a:extLst>
          </p:cNvPr>
          <p:cNvGrpSpPr/>
          <p:nvPr/>
        </p:nvGrpSpPr>
        <p:grpSpPr>
          <a:xfrm>
            <a:off x="10439226" y="2525680"/>
            <a:ext cx="742256" cy="914400"/>
            <a:chOff x="10359192" y="2479536"/>
            <a:chExt cx="742256" cy="914400"/>
          </a:xfrm>
        </p:grpSpPr>
        <p:sp>
          <p:nvSpPr>
            <p:cNvPr id="92" name="Freeform: Shape 91">
              <a:extLst>
                <a:ext uri="{FF2B5EF4-FFF2-40B4-BE49-F238E27FC236}">
                  <a16:creationId xmlns:a16="http://schemas.microsoft.com/office/drawing/2014/main" id="{F6713342-F7C6-4023-9BBC-647CC2DB1DB8}"/>
                </a:ext>
              </a:extLst>
            </p:cNvPr>
            <p:cNvSpPr>
              <a:spLocks noChangeAspect="1"/>
            </p:cNvSpPr>
            <p:nvPr/>
          </p:nvSpPr>
          <p:spPr>
            <a:xfrm>
              <a:off x="10359192" y="2479536"/>
              <a:ext cx="742256" cy="914400"/>
            </a:xfrm>
            <a:custGeom>
              <a:avLst/>
              <a:gdLst>
                <a:gd name="connsiteX0" fmla="*/ 335422 w 670458"/>
                <a:gd name="connsiteY0" fmla="*/ 77361 h 825952"/>
                <a:gd name="connsiteX1" fmla="*/ 155108 w 670458"/>
                <a:gd name="connsiteY1" fmla="*/ 257675 h 825952"/>
                <a:gd name="connsiteX2" fmla="*/ 155108 w 670458"/>
                <a:gd name="connsiteY2" fmla="*/ 336002 h 825952"/>
                <a:gd name="connsiteX3" fmla="*/ 515737 w 670458"/>
                <a:gd name="connsiteY3" fmla="*/ 336002 h 825952"/>
                <a:gd name="connsiteX4" fmla="*/ 515737 w 670458"/>
                <a:gd name="connsiteY4" fmla="*/ 262897 h 825952"/>
                <a:gd name="connsiteX5" fmla="*/ 348960 w 670458"/>
                <a:gd name="connsiteY5" fmla="*/ 77876 h 825952"/>
                <a:gd name="connsiteX6" fmla="*/ 335422 w 670458"/>
                <a:gd name="connsiteY6" fmla="*/ 77361 h 825952"/>
                <a:gd name="connsiteX7" fmla="*/ 335422 w 670458"/>
                <a:gd name="connsiteY7" fmla="*/ 0 h 825952"/>
                <a:gd name="connsiteX8" fmla="*/ 354569 w 670458"/>
                <a:gd name="connsiteY8" fmla="*/ 709 h 825952"/>
                <a:gd name="connsiteX9" fmla="*/ 593097 w 670458"/>
                <a:gd name="connsiteY9" fmla="*/ 262897 h 825952"/>
                <a:gd name="connsiteX10" fmla="*/ 593097 w 670458"/>
                <a:gd name="connsiteY10" fmla="*/ 336002 h 825952"/>
                <a:gd name="connsiteX11" fmla="*/ 670458 w 670458"/>
                <a:gd name="connsiteY11" fmla="*/ 336002 h 825952"/>
                <a:gd name="connsiteX12" fmla="*/ 670394 w 670458"/>
                <a:gd name="connsiteY12" fmla="*/ 825952 h 825952"/>
                <a:gd name="connsiteX13" fmla="*/ 0 w 670458"/>
                <a:gd name="connsiteY13" fmla="*/ 825952 h 825952"/>
                <a:gd name="connsiteX14" fmla="*/ 0 w 670458"/>
                <a:gd name="connsiteY14" fmla="*/ 336002 h 825952"/>
                <a:gd name="connsiteX15" fmla="*/ 77747 w 670458"/>
                <a:gd name="connsiteY15" fmla="*/ 336002 h 825952"/>
                <a:gd name="connsiteX16" fmla="*/ 77747 w 670458"/>
                <a:gd name="connsiteY16" fmla="*/ 257675 h 825952"/>
                <a:gd name="connsiteX17" fmla="*/ 335422 w 670458"/>
                <a:gd name="connsiteY17" fmla="*/ 0 h 82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458" h="825952">
                  <a:moveTo>
                    <a:pt x="335422" y="77361"/>
                  </a:moveTo>
                  <a:cubicBezTo>
                    <a:pt x="235949" y="77361"/>
                    <a:pt x="155108" y="158267"/>
                    <a:pt x="155108" y="257675"/>
                  </a:cubicBezTo>
                  <a:lnTo>
                    <a:pt x="155108" y="336002"/>
                  </a:lnTo>
                  <a:lnTo>
                    <a:pt x="515737" y="336002"/>
                  </a:lnTo>
                  <a:lnTo>
                    <a:pt x="515737" y="262897"/>
                  </a:lnTo>
                  <a:cubicBezTo>
                    <a:pt x="515737" y="165874"/>
                    <a:pt x="442502" y="84581"/>
                    <a:pt x="348960" y="77876"/>
                  </a:cubicBezTo>
                  <a:cubicBezTo>
                    <a:pt x="344447" y="77554"/>
                    <a:pt x="339935" y="77361"/>
                    <a:pt x="335422" y="77361"/>
                  </a:cubicBezTo>
                  <a:close/>
                  <a:moveTo>
                    <a:pt x="335422" y="0"/>
                  </a:moveTo>
                  <a:cubicBezTo>
                    <a:pt x="341740" y="0"/>
                    <a:pt x="348122" y="258"/>
                    <a:pt x="354569" y="709"/>
                  </a:cubicBezTo>
                  <a:cubicBezTo>
                    <a:pt x="490014" y="10444"/>
                    <a:pt x="593097" y="127065"/>
                    <a:pt x="593097" y="262897"/>
                  </a:cubicBezTo>
                  <a:lnTo>
                    <a:pt x="593097" y="336002"/>
                  </a:lnTo>
                  <a:lnTo>
                    <a:pt x="670458" y="336002"/>
                  </a:lnTo>
                  <a:lnTo>
                    <a:pt x="670394" y="825952"/>
                  </a:lnTo>
                  <a:lnTo>
                    <a:pt x="0" y="825952"/>
                  </a:lnTo>
                  <a:lnTo>
                    <a:pt x="0" y="336002"/>
                  </a:lnTo>
                  <a:lnTo>
                    <a:pt x="77747" y="336002"/>
                  </a:lnTo>
                  <a:lnTo>
                    <a:pt x="77747" y="257675"/>
                  </a:lnTo>
                  <a:cubicBezTo>
                    <a:pt x="77747" y="115396"/>
                    <a:pt x="193079" y="0"/>
                    <a:pt x="335422" y="0"/>
                  </a:cubicBezTo>
                  <a:close/>
                </a:path>
              </a:pathLst>
            </a:custGeom>
            <a:solidFill>
              <a:srgbClr val="0078D3"/>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97D1803C-C04F-491F-83D8-50077C6B6305}"/>
                </a:ext>
              </a:extLst>
            </p:cNvPr>
            <p:cNvSpPr/>
            <p:nvPr/>
          </p:nvSpPr>
          <p:spPr>
            <a:xfrm>
              <a:off x="10644675" y="2993262"/>
              <a:ext cx="171290" cy="171431"/>
            </a:xfrm>
            <a:custGeom>
              <a:avLst/>
              <a:gdLst>
                <a:gd name="connsiteX0" fmla="*/ 154721 w 154721"/>
                <a:gd name="connsiteY0" fmla="*/ 76587 h 154849"/>
                <a:gd name="connsiteX1" fmla="*/ 154721 w 154721"/>
                <a:gd name="connsiteY1" fmla="*/ 78327 h 154849"/>
                <a:gd name="connsiteX2" fmla="*/ 78199 w 154721"/>
                <a:gd name="connsiteY2" fmla="*/ 154850 h 154849"/>
                <a:gd name="connsiteX3" fmla="*/ 76458 w 154721"/>
                <a:gd name="connsiteY3" fmla="*/ 154850 h 154849"/>
                <a:gd name="connsiteX4" fmla="*/ 0 w 154721"/>
                <a:gd name="connsiteY4" fmla="*/ 78263 h 154849"/>
                <a:gd name="connsiteX5" fmla="*/ 0 w 154721"/>
                <a:gd name="connsiteY5" fmla="*/ 76522 h 154849"/>
                <a:gd name="connsiteX6" fmla="*/ 76522 w 154721"/>
                <a:gd name="connsiteY6" fmla="*/ 0 h 154849"/>
                <a:gd name="connsiteX7" fmla="*/ 78263 w 154721"/>
                <a:gd name="connsiteY7" fmla="*/ 0 h 154849"/>
                <a:gd name="connsiteX8" fmla="*/ 154721 w 154721"/>
                <a:gd name="connsiteY8" fmla="*/ 76587 h 15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21" h="154849">
                  <a:moveTo>
                    <a:pt x="154721" y="76587"/>
                  </a:moveTo>
                  <a:lnTo>
                    <a:pt x="154721" y="78327"/>
                  </a:lnTo>
                  <a:cubicBezTo>
                    <a:pt x="154721" y="120553"/>
                    <a:pt x="120489" y="154850"/>
                    <a:pt x="78199" y="154850"/>
                  </a:cubicBezTo>
                  <a:lnTo>
                    <a:pt x="76458" y="154850"/>
                  </a:lnTo>
                  <a:cubicBezTo>
                    <a:pt x="34232" y="154785"/>
                    <a:pt x="0" y="120553"/>
                    <a:pt x="0" y="78263"/>
                  </a:cubicBezTo>
                  <a:lnTo>
                    <a:pt x="0" y="76522"/>
                  </a:lnTo>
                  <a:cubicBezTo>
                    <a:pt x="0" y="34296"/>
                    <a:pt x="34232" y="0"/>
                    <a:pt x="76522" y="0"/>
                  </a:cubicBezTo>
                  <a:lnTo>
                    <a:pt x="78263" y="0"/>
                  </a:lnTo>
                  <a:cubicBezTo>
                    <a:pt x="120489" y="64"/>
                    <a:pt x="154721" y="34296"/>
                    <a:pt x="154721" y="76587"/>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046BD08D-4BF9-417C-9E7D-CFA8076F9438}"/>
                </a:ext>
              </a:extLst>
            </p:cNvPr>
            <p:cNvSpPr/>
            <p:nvPr/>
          </p:nvSpPr>
          <p:spPr>
            <a:xfrm>
              <a:off x="10687569" y="3079977"/>
              <a:ext cx="85574" cy="199766"/>
            </a:xfrm>
            <a:custGeom>
              <a:avLst/>
              <a:gdLst>
                <a:gd name="connsiteX0" fmla="*/ 38938 w 77296"/>
                <a:gd name="connsiteY0" fmla="*/ 180443 h 180443"/>
                <a:gd name="connsiteX1" fmla="*/ 38358 w 77296"/>
                <a:gd name="connsiteY1" fmla="*/ 180443 h 180443"/>
                <a:gd name="connsiteX2" fmla="*/ 0 w 77296"/>
                <a:gd name="connsiteY2" fmla="*/ 142086 h 180443"/>
                <a:gd name="connsiteX3" fmla="*/ 0 w 77296"/>
                <a:gd name="connsiteY3" fmla="*/ 38358 h 180443"/>
                <a:gd name="connsiteX4" fmla="*/ 38358 w 77296"/>
                <a:gd name="connsiteY4" fmla="*/ 0 h 180443"/>
                <a:gd name="connsiteX5" fmla="*/ 38938 w 77296"/>
                <a:gd name="connsiteY5" fmla="*/ 0 h 180443"/>
                <a:gd name="connsiteX6" fmla="*/ 77296 w 77296"/>
                <a:gd name="connsiteY6" fmla="*/ 38358 h 180443"/>
                <a:gd name="connsiteX7" fmla="*/ 77296 w 77296"/>
                <a:gd name="connsiteY7" fmla="*/ 142086 h 180443"/>
                <a:gd name="connsiteX8" fmla="*/ 38938 w 77296"/>
                <a:gd name="connsiteY8" fmla="*/ 180443 h 18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6" h="180443">
                  <a:moveTo>
                    <a:pt x="38938" y="180443"/>
                  </a:moveTo>
                  <a:lnTo>
                    <a:pt x="38358" y="180443"/>
                  </a:lnTo>
                  <a:cubicBezTo>
                    <a:pt x="17148" y="180443"/>
                    <a:pt x="0" y="163231"/>
                    <a:pt x="0" y="142086"/>
                  </a:cubicBezTo>
                  <a:lnTo>
                    <a:pt x="0" y="38358"/>
                  </a:lnTo>
                  <a:cubicBezTo>
                    <a:pt x="0" y="17148"/>
                    <a:pt x="17213" y="0"/>
                    <a:pt x="38358" y="0"/>
                  </a:cubicBezTo>
                  <a:lnTo>
                    <a:pt x="38938" y="0"/>
                  </a:lnTo>
                  <a:cubicBezTo>
                    <a:pt x="60148" y="0"/>
                    <a:pt x="77296" y="17213"/>
                    <a:pt x="77296" y="38358"/>
                  </a:cubicBezTo>
                  <a:lnTo>
                    <a:pt x="77296" y="142086"/>
                  </a:lnTo>
                  <a:cubicBezTo>
                    <a:pt x="77296" y="163295"/>
                    <a:pt x="60083" y="180443"/>
                    <a:pt x="38938" y="180443"/>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grpSp>
      <p:sp>
        <p:nvSpPr>
          <p:cNvPr id="100" name="TextBox 99">
            <a:extLst>
              <a:ext uri="{FF2B5EF4-FFF2-40B4-BE49-F238E27FC236}">
                <a16:creationId xmlns:a16="http://schemas.microsoft.com/office/drawing/2014/main" id="{BA2FE239-C079-4BD7-B2DA-68D3EAF43E4A}"/>
              </a:ext>
            </a:extLst>
          </p:cNvPr>
          <p:cNvSpPr txBox="1"/>
          <p:nvPr/>
        </p:nvSpPr>
        <p:spPr>
          <a:xfrm>
            <a:off x="9758794" y="3904732"/>
            <a:ext cx="2103120" cy="230832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dentity and access manage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fra protec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pp securi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encryption and sovereign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 operations</a:t>
            </a:r>
          </a:p>
        </p:txBody>
      </p:sp>
      <p:sp>
        <p:nvSpPr>
          <p:cNvPr id="7" name="TextBox 6">
            <a:extLst>
              <a:ext uri="{FF2B5EF4-FFF2-40B4-BE49-F238E27FC236}">
                <a16:creationId xmlns:a16="http://schemas.microsoft.com/office/drawing/2014/main" id="{72211803-2C90-4CEB-998C-1D68912817B0}"/>
              </a:ext>
            </a:extLst>
          </p:cNvPr>
          <p:cNvSpPr txBox="1"/>
          <p:nvPr/>
        </p:nvSpPr>
        <p:spPr>
          <a:xfrm>
            <a:off x="414171" y="6121825"/>
            <a:ext cx="4785911" cy="3693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5"/>
              </a:rPr>
              <a:t>https://aka.ms/wellarchitected/framework</a:t>
            </a:r>
            <a:endPar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81586740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lstStyle/>
          <a:p>
            <a:r>
              <a:rPr lang="en-US" dirty="0">
                <a:solidFill>
                  <a:srgbClr val="4BE8FF"/>
                </a:solidFill>
              </a:rPr>
              <a:t>Where do Landing Zones fit in?</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296744" y="5562142"/>
            <a:ext cx="8161518" cy="0"/>
          </a:xfrm>
          <a:prstGeom prst="straightConnector1">
            <a:avLst/>
          </a:prstGeom>
          <a:ln w="22225">
            <a:solidFill>
              <a:srgbClr val="4BE8FF"/>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296744" y="1728907"/>
            <a:ext cx="8161518" cy="2808919"/>
          </a:xfrm>
          <a:prstGeom prst="roundRect">
            <a:avLst>
              <a:gd name="adj" fmla="val 2546"/>
            </a:avLst>
          </a:prstGeom>
          <a:noFill/>
          <a:ln w="9525">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3AE9F58F-AEEA-4BC7-9558-817D48003AA9}"/>
              </a:ext>
            </a:extLst>
          </p:cNvPr>
          <p:cNvGrpSpPr/>
          <p:nvPr/>
        </p:nvGrpSpPr>
        <p:grpSpPr>
          <a:xfrm>
            <a:off x="6156188" y="1900804"/>
            <a:ext cx="2396034" cy="2465124"/>
            <a:chOff x="6156188" y="1900804"/>
            <a:chExt cx="2396034" cy="2465124"/>
          </a:xfrm>
        </p:grpSpPr>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15618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2060641"/>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10E27B1B-E396-4E9E-B1EA-2D0705511A13}"/>
              </a:ext>
            </a:extLst>
          </p:cNvPr>
          <p:cNvGrpSpPr/>
          <p:nvPr/>
        </p:nvGrpSpPr>
        <p:grpSpPr>
          <a:xfrm>
            <a:off x="3413658" y="1900804"/>
            <a:ext cx="2396034" cy="2465124"/>
            <a:chOff x="3413658" y="1900804"/>
            <a:chExt cx="2396034" cy="2465124"/>
          </a:xfrm>
        </p:grpSpPr>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1365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Cloud adoption plan</a:t>
              </a: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2114836"/>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88B210E-75BB-4471-BEA4-151F93E95EE7}"/>
              </a:ext>
            </a:extLst>
          </p:cNvPr>
          <p:cNvGrpSpPr/>
          <p:nvPr/>
        </p:nvGrpSpPr>
        <p:grpSpPr>
          <a:xfrm>
            <a:off x="649400" y="1900804"/>
            <a:ext cx="2396034" cy="2465124"/>
            <a:chOff x="649400" y="1900804"/>
            <a:chExt cx="2396034" cy="2465124"/>
          </a:xfrm>
        </p:grpSpPr>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Understand motivation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2078856"/>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869461" y="4723485"/>
            <a:ext cx="5016084" cy="1677315"/>
          </a:xfrm>
          <a:prstGeom prst="roundRect">
            <a:avLst>
              <a:gd name="adj" fmla="val 2546"/>
            </a:avLst>
          </a:prstGeom>
          <a:solidFill>
            <a:schemeClr val="bg1"/>
          </a:solidFill>
          <a:ln w="9525">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1A5FB67D-8A52-45D9-ACF4-7BECB6B3FBCE}"/>
              </a:ext>
            </a:extLst>
          </p:cNvPr>
          <p:cNvGrpSpPr/>
          <p:nvPr/>
        </p:nvGrpSpPr>
        <p:grpSpPr>
          <a:xfrm>
            <a:off x="7457715" y="4849440"/>
            <a:ext cx="2280155" cy="1425404"/>
            <a:chOff x="7457715" y="4849440"/>
            <a:chExt cx="2280155" cy="1425404"/>
          </a:xfrm>
        </p:grpSpPr>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5466884"/>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5012264"/>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5C1FCFB8-DE83-4DB3-AA00-7AAF2480BDB6}"/>
              </a:ext>
            </a:extLst>
          </p:cNvPr>
          <p:cNvGrpSpPr/>
          <p:nvPr/>
        </p:nvGrpSpPr>
        <p:grpSpPr>
          <a:xfrm>
            <a:off x="5017136" y="4849440"/>
            <a:ext cx="2280155" cy="1425404"/>
            <a:chOff x="5017136" y="4849440"/>
            <a:chExt cx="2280155" cy="1425404"/>
          </a:xfrm>
        </p:grpSpPr>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5466884"/>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5012264"/>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59AF684B-E8D6-4DFD-813E-7A7AAB495195}"/>
              </a:ext>
            </a:extLst>
          </p:cNvPr>
          <p:cNvGrpSpPr/>
          <p:nvPr/>
        </p:nvGrpSpPr>
        <p:grpSpPr>
          <a:xfrm>
            <a:off x="8912790" y="1900804"/>
            <a:ext cx="2355005" cy="2465124"/>
            <a:chOff x="8912790" y="1900804"/>
            <a:chExt cx="2355005" cy="2465124"/>
          </a:xfrm>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2316612"/>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2055222"/>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586661"/>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3429151"/>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687018"/>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519278"/>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p:cNvCxnSpPr>
          <p:nvPr/>
        </p:nvCxnSpPr>
        <p:spPr>
          <a:xfrm>
            <a:off x="2995613" y="3133366"/>
            <a:ext cx="623887" cy="0"/>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p:cNvCxnSpPr>
          <p:nvPr/>
        </p:nvCxnSpPr>
        <p:spPr>
          <a:xfrm>
            <a:off x="5751513" y="3133366"/>
            <a:ext cx="623887" cy="0"/>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489950" y="2930643"/>
            <a:ext cx="664547" cy="158273"/>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489950" y="3177816"/>
            <a:ext cx="664547" cy="251335"/>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15960B26-0741-4FF3-9432-CA7CC56FA5A8}"/>
              </a:ext>
            </a:extLst>
          </p:cNvPr>
          <p:cNvSpPr/>
          <p:nvPr/>
        </p:nvSpPr>
        <p:spPr>
          <a:xfrm>
            <a:off x="6042542" y="1645219"/>
            <a:ext cx="2632832" cy="2980885"/>
          </a:xfrm>
          <a:prstGeom prst="roundRect">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6" name="Straight Connector 5">
            <a:extLst>
              <a:ext uri="{FF2B5EF4-FFF2-40B4-BE49-F238E27FC236}">
                <a16:creationId xmlns:a16="http://schemas.microsoft.com/office/drawing/2014/main" id="{132EF01E-AAEB-4EAF-B50D-94B0D0893FDC}"/>
              </a:ext>
            </a:extLst>
          </p:cNvPr>
          <p:cNvCxnSpPr/>
          <p:nvPr/>
        </p:nvCxnSpPr>
        <p:spPr>
          <a:xfrm>
            <a:off x="6690129" y="3438525"/>
            <a:ext cx="1304097" cy="0"/>
          </a:xfrm>
          <a:prstGeom prst="line">
            <a:avLst/>
          </a:prstGeom>
          <a:ln w="28575">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7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1530C6EC-18AC-4617-B578-DB6B4BDD3C58}"/>
              </a:ext>
            </a:extLst>
          </p:cNvPr>
          <p:cNvCxnSpPr>
            <a:cxnSpLocks/>
          </p:cNvCxnSpPr>
          <p:nvPr/>
        </p:nvCxnSpPr>
        <p:spPr>
          <a:xfrm flipV="1">
            <a:off x="1848914" y="4072478"/>
            <a:ext cx="1" cy="191530"/>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F98599D-F93E-46CD-AF39-EE8ADB759DF1}"/>
              </a:ext>
            </a:extLst>
          </p:cNvPr>
          <p:cNvCxnSpPr>
            <a:cxnSpLocks/>
          </p:cNvCxnSpPr>
          <p:nvPr/>
        </p:nvCxnSpPr>
        <p:spPr>
          <a:xfrm>
            <a:off x="4827280" y="4365928"/>
            <a:ext cx="1" cy="483512"/>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F0EC4F1-D6B8-4038-ACFE-00DB9345A928}"/>
              </a:ext>
            </a:extLst>
          </p:cNvPr>
          <p:cNvCxnSpPr>
            <a:cxnSpLocks/>
          </p:cNvCxnSpPr>
          <p:nvPr/>
        </p:nvCxnSpPr>
        <p:spPr>
          <a:xfrm>
            <a:off x="8091075" y="4387343"/>
            <a:ext cx="0" cy="459583"/>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329F30A-DDD5-499D-8AAB-3817F2491D0C}"/>
              </a:ext>
            </a:extLst>
          </p:cNvPr>
          <p:cNvCxnSpPr>
            <a:cxnSpLocks/>
          </p:cNvCxnSpPr>
          <p:nvPr/>
        </p:nvCxnSpPr>
        <p:spPr>
          <a:xfrm flipH="1">
            <a:off x="8999126" y="3048326"/>
            <a:ext cx="554933" cy="0"/>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6E0F3FD-E427-4B90-834C-669A79AEC5DF}"/>
              </a:ext>
            </a:extLst>
          </p:cNvPr>
          <p:cNvCxnSpPr>
            <a:cxnSpLocks/>
          </p:cNvCxnSpPr>
          <p:nvPr/>
        </p:nvCxnSpPr>
        <p:spPr>
          <a:xfrm>
            <a:off x="10771088" y="3734355"/>
            <a:ext cx="0" cy="1130911"/>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lstStyle/>
          <a:p>
            <a:r>
              <a:rPr lang="en-US">
                <a:solidFill>
                  <a:srgbClr val="4BE8FF"/>
                </a:solidFill>
              </a:rPr>
              <a:t>And the Well Architected Framework?</a:t>
            </a:r>
          </a:p>
        </p:txBody>
      </p:sp>
      <p:grpSp>
        <p:nvGrpSpPr>
          <p:cNvPr id="9" name="Group 8">
            <a:extLst>
              <a:ext uri="{FF2B5EF4-FFF2-40B4-BE49-F238E27FC236}">
                <a16:creationId xmlns:a16="http://schemas.microsoft.com/office/drawing/2014/main" id="{3AE9F58F-AEEA-4BC7-9558-817D48003AA9}"/>
              </a:ext>
            </a:extLst>
          </p:cNvPr>
          <p:cNvGrpSpPr/>
          <p:nvPr/>
        </p:nvGrpSpPr>
        <p:grpSpPr>
          <a:xfrm>
            <a:off x="3629263" y="1900804"/>
            <a:ext cx="2396034" cy="2465124"/>
            <a:chOff x="6156188" y="1900804"/>
            <a:chExt cx="2396034" cy="2465124"/>
          </a:xfrm>
          <a:effectLst>
            <a:outerShdw blurRad="50800" dist="38100" dir="2700000" algn="tl" rotWithShape="0">
              <a:prstClr val="black">
                <a:alpha val="40000"/>
              </a:prstClr>
            </a:outerShdw>
          </a:effectLst>
        </p:grpSpPr>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15618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2060641"/>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10E27B1B-E396-4E9E-B1EA-2D0705511A13}"/>
              </a:ext>
            </a:extLst>
          </p:cNvPr>
          <p:cNvGrpSpPr/>
          <p:nvPr/>
        </p:nvGrpSpPr>
        <p:grpSpPr>
          <a:xfrm>
            <a:off x="650897" y="4234322"/>
            <a:ext cx="2396034" cy="2465124"/>
            <a:chOff x="3413658" y="1900804"/>
            <a:chExt cx="2396034" cy="2465124"/>
          </a:xfrm>
          <a:effectLst>
            <a:outerShdw blurRad="50800" dist="38100" dir="2700000" algn="tl" rotWithShape="0">
              <a:prstClr val="black">
                <a:alpha val="40000"/>
              </a:prstClr>
            </a:outerShdw>
          </a:effectLst>
        </p:grpSpPr>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1365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Cloud adoption plan</a:t>
              </a: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2114836"/>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88B210E-75BB-4471-BEA4-151F93E95EE7}"/>
              </a:ext>
            </a:extLst>
          </p:cNvPr>
          <p:cNvGrpSpPr/>
          <p:nvPr/>
        </p:nvGrpSpPr>
        <p:grpSpPr>
          <a:xfrm>
            <a:off x="650897" y="1625556"/>
            <a:ext cx="2396034" cy="2465124"/>
            <a:chOff x="649400" y="1900804"/>
            <a:chExt cx="2396034" cy="2465124"/>
          </a:xfrm>
          <a:effectLst>
            <a:outerShdw blurRad="50800" dist="38100" dir="2700000" algn="tl" rotWithShape="0">
              <a:prstClr val="black">
                <a:alpha val="40000"/>
              </a:prstClr>
            </a:outerShdw>
          </a:effectLst>
        </p:grpSpPr>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Understand motivation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2078856"/>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1A5FB67D-8A52-45D9-ACF4-7BECB6B3FBCE}"/>
              </a:ext>
            </a:extLst>
          </p:cNvPr>
          <p:cNvGrpSpPr/>
          <p:nvPr/>
        </p:nvGrpSpPr>
        <p:grpSpPr>
          <a:xfrm>
            <a:off x="9534165" y="2475094"/>
            <a:ext cx="2280155" cy="1425404"/>
            <a:chOff x="7457715" y="4849440"/>
            <a:chExt cx="2280155" cy="1425404"/>
          </a:xfrm>
          <a:effectLst>
            <a:outerShdw blurRad="50800" dist="38100" dir="2700000" algn="tl" rotWithShape="0">
              <a:prstClr val="black">
                <a:alpha val="40000"/>
              </a:prstClr>
            </a:outerShdw>
          </a:effectLst>
        </p:grpSpPr>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5466884"/>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5012264"/>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5C1FCFB8-DE83-4DB3-AA00-7AAF2480BDB6}"/>
              </a:ext>
            </a:extLst>
          </p:cNvPr>
          <p:cNvGrpSpPr/>
          <p:nvPr/>
        </p:nvGrpSpPr>
        <p:grpSpPr>
          <a:xfrm>
            <a:off x="3687203" y="4849440"/>
            <a:ext cx="2280155" cy="1425404"/>
            <a:chOff x="5017136" y="4849440"/>
            <a:chExt cx="2280155" cy="1425404"/>
          </a:xfrm>
          <a:effectLst>
            <a:outerShdw blurRad="50800" dist="38100" dir="2700000" algn="tl" rotWithShape="0">
              <a:prstClr val="black">
                <a:alpha val="40000"/>
              </a:prstClr>
            </a:outerShdw>
          </a:effectLst>
        </p:grpSpPr>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5466884"/>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5012264"/>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59AF684B-E8D6-4DFD-813E-7A7AAB495195}"/>
              </a:ext>
            </a:extLst>
          </p:cNvPr>
          <p:cNvGrpSpPr/>
          <p:nvPr/>
        </p:nvGrpSpPr>
        <p:grpSpPr>
          <a:xfrm>
            <a:off x="6681545" y="1900804"/>
            <a:ext cx="2355005" cy="2465124"/>
            <a:chOff x="8912790" y="1900804"/>
            <a:chExt cx="2355005" cy="2465124"/>
          </a:xfrm>
          <a:effectLst>
            <a:outerShdw blurRad="50800" dist="38100" dir="2700000" algn="tl" rotWithShape="0">
              <a:prstClr val="black">
                <a:alpha val="40000"/>
              </a:prstClr>
            </a:outerShdw>
          </a:effectLst>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2316612"/>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2055222"/>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586661"/>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3429151"/>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687018"/>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519278"/>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6EA3DD4C-A260-4132-BDF0-79568AE810E0}"/>
              </a:ext>
            </a:extLst>
          </p:cNvPr>
          <p:cNvGrpSpPr/>
          <p:nvPr/>
        </p:nvGrpSpPr>
        <p:grpSpPr>
          <a:xfrm>
            <a:off x="7320924" y="4846926"/>
            <a:ext cx="4221667" cy="1425404"/>
            <a:chOff x="7320924" y="4846926"/>
            <a:chExt cx="4221667" cy="1425404"/>
          </a:xfrm>
          <a:effectLst>
            <a:outerShdw blurRad="50800" dist="38100" dir="2700000" algn="tl" rotWithShape="0">
              <a:prstClr val="black">
                <a:alpha val="40000"/>
              </a:prstClr>
            </a:outerShdw>
          </a:effectLst>
        </p:grpSpPr>
        <p:sp>
          <p:nvSpPr>
            <p:cNvPr id="41" name="Rectangle: Rounded Corners 40">
              <a:extLst>
                <a:ext uri="{FF2B5EF4-FFF2-40B4-BE49-F238E27FC236}">
                  <a16:creationId xmlns:a16="http://schemas.microsoft.com/office/drawing/2014/main" id="{F5BDE143-6751-4E7B-984D-EE5C45CA03F2}"/>
                </a:ext>
                <a:ext uri="{C183D7F6-B498-43B3-948B-1728B52AA6E4}">
                  <adec:decorative xmlns:adec="http://schemas.microsoft.com/office/drawing/2017/decorative" val="1"/>
                </a:ext>
              </a:extLst>
            </p:cNvPr>
            <p:cNvSpPr/>
            <p:nvPr/>
          </p:nvSpPr>
          <p:spPr>
            <a:xfrm>
              <a:off x="7320924" y="4846926"/>
              <a:ext cx="4221667"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TextBox 41">
              <a:extLst>
                <a:ext uri="{FF2B5EF4-FFF2-40B4-BE49-F238E27FC236}">
                  <a16:creationId xmlns:a16="http://schemas.microsoft.com/office/drawing/2014/main" id="{E5EB63A8-BA2C-4BFE-929A-BFD1A043E7A4}"/>
                </a:ext>
              </a:extLst>
            </p:cNvPr>
            <p:cNvSpPr txBox="1"/>
            <p:nvPr/>
          </p:nvSpPr>
          <p:spPr>
            <a:xfrm>
              <a:off x="7511378" y="5464370"/>
              <a:ext cx="3800756" cy="5909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Well Architected</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erational Excellence • Performance Efficiency</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Reliability • Security • Cost </a:t>
              </a:r>
              <a:r>
                <a:rPr kumimoji="0" lang="en-US" sz="1100" b="0" i="0" u="none" strike="noStrike" kern="1200" cap="none" spc="0" normalizeH="0" baseline="0" noProof="0" err="1">
                  <a:ln>
                    <a:noFill/>
                  </a:ln>
                  <a:solidFill>
                    <a:srgbClr val="FFFFFF"/>
                  </a:solidFill>
                  <a:effectLst/>
                  <a:uLnTx/>
                  <a:uFillTx/>
                  <a:latin typeface="Segoe UI" panose="020B0502040204020203" pitchFamily="34" charset="0"/>
                  <a:ea typeface="+mn-lt"/>
                  <a:cs typeface="Segoe UI" panose="020B0502040204020203" pitchFamily="34" charset="0"/>
                </a:rPr>
                <a:t>Optimisation</a:t>
              </a:r>
              <a:endPar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endParaRPr>
            </a:p>
          </p:txBody>
        </p:sp>
        <p:sp>
          <p:nvSpPr>
            <p:cNvPr id="43" name="Trackers_EADF_bidi" title="Icon of a clipboard with a checklist on it">
              <a:extLst>
                <a:ext uri="{FF2B5EF4-FFF2-40B4-BE49-F238E27FC236}">
                  <a16:creationId xmlns:a16="http://schemas.microsoft.com/office/drawing/2014/main" id="{BB13CA49-44BA-423D-A281-7D312F5FBEEF}"/>
                </a:ext>
              </a:extLst>
            </p:cNvPr>
            <p:cNvSpPr>
              <a:spLocks noChangeAspect="1" noEditPoints="1"/>
            </p:cNvSpPr>
            <p:nvPr/>
          </p:nvSpPr>
          <p:spPr bwMode="auto">
            <a:xfrm>
              <a:off x="9277635" y="4972768"/>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Rectangle 4">
            <a:extLst>
              <a:ext uri="{FF2B5EF4-FFF2-40B4-BE49-F238E27FC236}">
                <a16:creationId xmlns:a16="http://schemas.microsoft.com/office/drawing/2014/main" id="{47B997FE-8546-4596-973F-AA24923805ED}"/>
              </a:ext>
            </a:extLst>
          </p:cNvPr>
          <p:cNvSpPr/>
          <p:nvPr/>
        </p:nvSpPr>
        <p:spPr bwMode="auto">
          <a:xfrm>
            <a:off x="1" y="1011198"/>
            <a:ext cx="3333750" cy="516294"/>
          </a:xfrm>
          <a:prstGeom prst="rect">
            <a:avLst/>
          </a:prstGeom>
          <a:solidFill>
            <a:srgbClr val="4D49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    Business</a:t>
            </a:r>
          </a:p>
        </p:txBody>
      </p:sp>
      <p:sp>
        <p:nvSpPr>
          <p:cNvPr id="13" name="Rectangle 12">
            <a:extLst>
              <a:ext uri="{FF2B5EF4-FFF2-40B4-BE49-F238E27FC236}">
                <a16:creationId xmlns:a16="http://schemas.microsoft.com/office/drawing/2014/main" id="{2A9B34FA-93BB-469A-92F0-6B5944710384}"/>
              </a:ext>
            </a:extLst>
          </p:cNvPr>
          <p:cNvSpPr/>
          <p:nvPr/>
        </p:nvSpPr>
        <p:spPr bwMode="auto">
          <a:xfrm>
            <a:off x="3333751" y="1011198"/>
            <a:ext cx="2990849" cy="516294"/>
          </a:xfrm>
          <a:prstGeom prst="rect">
            <a:avLst/>
          </a:prstGeom>
          <a:solidFill>
            <a:srgbClr val="4D49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latform</a:t>
            </a:r>
          </a:p>
        </p:txBody>
      </p:sp>
      <p:sp>
        <p:nvSpPr>
          <p:cNvPr id="14" name="Rectangle 13">
            <a:extLst>
              <a:ext uri="{FF2B5EF4-FFF2-40B4-BE49-F238E27FC236}">
                <a16:creationId xmlns:a16="http://schemas.microsoft.com/office/drawing/2014/main" id="{0572C880-A898-4CC9-88D0-7EA4FD89F221}"/>
              </a:ext>
            </a:extLst>
          </p:cNvPr>
          <p:cNvSpPr/>
          <p:nvPr/>
        </p:nvSpPr>
        <p:spPr bwMode="auto">
          <a:xfrm>
            <a:off x="6324600" y="1011198"/>
            <a:ext cx="5854521" cy="516294"/>
          </a:xfrm>
          <a:prstGeom prst="rect">
            <a:avLst/>
          </a:prstGeom>
          <a:solidFill>
            <a:srgbClr val="4D49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4BE8FF"/>
                </a:solidFill>
                <a:effectLst/>
                <a:uLnTx/>
                <a:uFillTx/>
                <a:latin typeface="Segoe UI"/>
                <a:ea typeface="Segoe UI" pitchFamily="34" charset="0"/>
                <a:cs typeface="Segoe UI" pitchFamily="34" charset="0"/>
              </a:rPr>
              <a:t>Workload</a:t>
            </a:r>
          </a:p>
        </p:txBody>
      </p:sp>
      <p:cxnSp>
        <p:nvCxnSpPr>
          <p:cNvPr id="60" name="Straight Connector 59">
            <a:extLst>
              <a:ext uri="{FF2B5EF4-FFF2-40B4-BE49-F238E27FC236}">
                <a16:creationId xmlns:a16="http://schemas.microsoft.com/office/drawing/2014/main" id="{A9D14E0E-A7A5-4610-8C5A-6C57B1D3A319}"/>
              </a:ext>
            </a:extLst>
          </p:cNvPr>
          <p:cNvCxnSpPr>
            <a:cxnSpLocks/>
          </p:cNvCxnSpPr>
          <p:nvPr/>
        </p:nvCxnSpPr>
        <p:spPr>
          <a:xfrm>
            <a:off x="3333752" y="1043762"/>
            <a:ext cx="0" cy="451167"/>
          </a:xfrm>
          <a:prstGeom prst="line">
            <a:avLst/>
          </a:prstGeom>
          <a:ln w="28575">
            <a:solidFill>
              <a:schemeClr val="bg1">
                <a:lumMod val="85000"/>
                <a:lumOff val="1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3762B9A-C4C5-4FEB-BAF6-52820C26B0C2}"/>
              </a:ext>
            </a:extLst>
          </p:cNvPr>
          <p:cNvCxnSpPr>
            <a:cxnSpLocks/>
          </p:cNvCxnSpPr>
          <p:nvPr/>
        </p:nvCxnSpPr>
        <p:spPr>
          <a:xfrm>
            <a:off x="6324600" y="1043762"/>
            <a:ext cx="0" cy="451167"/>
          </a:xfrm>
          <a:prstGeom prst="line">
            <a:avLst/>
          </a:prstGeom>
          <a:ln w="28575">
            <a:solidFill>
              <a:schemeClr val="bg1">
                <a:lumMod val="85000"/>
                <a:lumOff val="1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6" name="Rectangle: Rounded Corners 65">
            <a:extLst>
              <a:ext uri="{FF2B5EF4-FFF2-40B4-BE49-F238E27FC236}">
                <a16:creationId xmlns:a16="http://schemas.microsoft.com/office/drawing/2014/main" id="{20A4DCA5-1F95-48B1-969A-C0589DC2DA17}"/>
              </a:ext>
            </a:extLst>
          </p:cNvPr>
          <p:cNvSpPr/>
          <p:nvPr/>
        </p:nvSpPr>
        <p:spPr>
          <a:xfrm>
            <a:off x="7061550" y="4589577"/>
            <a:ext cx="4700411" cy="1940102"/>
          </a:xfrm>
          <a:prstGeom prst="roundRect">
            <a:avLst/>
          </a:prstGeom>
          <a:noFill/>
          <a:ln w="57150">
            <a:solidFill>
              <a:srgbClr val="4BE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00269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ppt_x"/>
                                          </p:val>
                                        </p:tav>
                                        <p:tav tm="100000">
                                          <p:val>
                                            <p:strVal val="#ppt_x"/>
                                          </p:val>
                                        </p:tav>
                                      </p:tavLst>
                                    </p:anim>
                                    <p:anim calcmode="lin" valueType="num">
                                      <p:cBhvr additive="base">
                                        <p:cTn id="8" dur="500" fill="hold"/>
                                        <p:tgtEl>
                                          <p:spTgt spid="40"/>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1" fill="hold" nodeType="after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wipe(up)">
                                      <p:cBhvr>
                                        <p:cTn id="12" dur="500"/>
                                        <p:tgtEl>
                                          <p:spTgt spid="49"/>
                                        </p:tgtEl>
                                      </p:cBhvr>
                                    </p:animEffect>
                                  </p:childTnLst>
                                </p:cTn>
                              </p:par>
                              <p:par>
                                <p:cTn id="13" presetID="22" presetClass="entr" presetSubtype="1" fill="hold" nodeType="withEffect">
                                  <p:stCondLst>
                                    <p:cond delay="0"/>
                                  </p:stCondLst>
                                  <p:childTnLst>
                                    <p:set>
                                      <p:cBhvr>
                                        <p:cTn id="14" dur="1" fill="hold">
                                          <p:stCondLst>
                                            <p:cond delay="0"/>
                                          </p:stCondLst>
                                        </p:cTn>
                                        <p:tgtEl>
                                          <p:spTgt spid="50"/>
                                        </p:tgtEl>
                                        <p:attrNameLst>
                                          <p:attrName>style.visibility</p:attrName>
                                        </p:attrNameLst>
                                      </p:cBhvr>
                                      <p:to>
                                        <p:strVal val="visible"/>
                                      </p:to>
                                    </p:set>
                                    <p:animEffect transition="in" filter="wipe(up)">
                                      <p:cBhvr>
                                        <p:cTn id="15" dur="500"/>
                                        <p:tgtEl>
                                          <p:spTgt spid="50"/>
                                        </p:tgtEl>
                                      </p:cBhvr>
                                    </p:animEffect>
                                  </p:childTnLst>
                                </p:cTn>
                              </p:par>
                              <p:par>
                                <p:cTn id="16" presetID="22" presetClass="entr" presetSubtype="1" fill="hold" nodeType="with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wipe(up)">
                                      <p:cBhvr>
                                        <p:cTn id="18" dur="500"/>
                                        <p:tgtEl>
                                          <p:spTgt spid="51"/>
                                        </p:tgtEl>
                                      </p:cBhvr>
                                    </p:animEffect>
                                  </p:childTnLst>
                                </p:cTn>
                              </p:par>
                              <p:par>
                                <p:cTn id="19" presetID="22" presetClass="entr" presetSubtype="1" fill="hold"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wipe(up)">
                                      <p:cBhvr>
                                        <p:cTn id="21" dur="500"/>
                                        <p:tgtEl>
                                          <p:spTgt spid="52"/>
                                        </p:tgtEl>
                                      </p:cBhvr>
                                    </p:animEffect>
                                  </p:childTnLst>
                                </p:cTn>
                              </p:par>
                              <p:par>
                                <p:cTn id="22" presetID="22" presetClass="entr" presetSubtype="1"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wipe(up)">
                                      <p:cBhvr>
                                        <p:cTn id="24" dur="500"/>
                                        <p:tgtEl>
                                          <p:spTgt spid="53"/>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500"/>
                                        <p:tgtEl>
                                          <p:spTgt spid="66"/>
                                        </p:tgtEl>
                                      </p:cBhvr>
                                    </p:animEffect>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2000"/>
                            </p:stCondLst>
                            <p:childTnLst>
                              <p:par>
                                <p:cTn id="34" presetID="10" presetClass="entr" presetSubtype="0" fill="hold" nodeType="afterEffect">
                                  <p:stCondLst>
                                    <p:cond delay="0"/>
                                  </p:stCondLst>
                                  <p:childTnLst>
                                    <p:set>
                                      <p:cBhvr>
                                        <p:cTn id="35" dur="1" fill="hold">
                                          <p:stCondLst>
                                            <p:cond delay="0"/>
                                          </p:stCondLst>
                                        </p:cTn>
                                        <p:tgtEl>
                                          <p:spTgt spid="60"/>
                                        </p:tgtEl>
                                        <p:attrNameLst>
                                          <p:attrName>style.visibility</p:attrName>
                                        </p:attrNameLst>
                                      </p:cBhvr>
                                      <p:to>
                                        <p:strVal val="visible"/>
                                      </p:to>
                                    </p:set>
                                    <p:animEffect transition="in" filter="fade">
                                      <p:cBhvr>
                                        <p:cTn id="36" dur="500"/>
                                        <p:tgtEl>
                                          <p:spTgt spid="60"/>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par>
                          <p:cTn id="41" fill="hold">
                            <p:stCondLst>
                              <p:cond delay="30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3500"/>
                            </p:stCondLst>
                            <p:childTnLst>
                              <p:par>
                                <p:cTn id="46" presetID="10" presetClass="entr" presetSubtype="0"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3" grpId="0" animBg="1"/>
      <p:bldP spid="14" grpId="0" animBg="1"/>
      <p:bldP spid="6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pic>
        <p:nvPicPr>
          <p:cNvPr id="1032" name="Picture 8" descr="How to get the best Leaning Tower of Pisa Photo">
            <a:extLst>
              <a:ext uri="{FF2B5EF4-FFF2-40B4-BE49-F238E27FC236}">
                <a16:creationId xmlns:a16="http://schemas.microsoft.com/office/drawing/2014/main" id="{70594C37-AC0F-2920-8941-FDA1B268D3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747"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rj Khalifa | CRH">
            <a:extLst>
              <a:ext uri="{FF2B5EF4-FFF2-40B4-BE49-F238E27FC236}">
                <a16:creationId xmlns:a16="http://schemas.microsoft.com/office/drawing/2014/main" id="{262FE8ED-F4D9-A38A-E1EB-F0E12D4A20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6253"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93891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dirty="0"/>
              <a:t>Enable </a:t>
            </a:r>
            <a:r>
              <a:rPr lang="en-GB" sz="2400" dirty="0"/>
              <a:t>Autonomy for Innovation and Transformation</a:t>
            </a:r>
          </a:p>
          <a:p>
            <a:pPr marL="228556" indent="-228556">
              <a:spcAft>
                <a:spcPts val="3400"/>
              </a:spcAft>
              <a:buChar char=""/>
            </a:pPr>
            <a:r>
              <a:rPr lang="en-GB" sz="2400" dirty="0"/>
              <a:t>Security and Compliance By-Default</a:t>
            </a:r>
          </a:p>
          <a:p>
            <a:pPr marL="228556" indent="-228556">
              <a:buChar char=""/>
            </a:pPr>
            <a:r>
              <a:rPr lang="en-GB" sz="2400" dirty="0"/>
              <a:t>Governance At-Scale with Sustainable Cloud Engineering</a:t>
            </a:r>
            <a:endParaRPr lang="en-US" sz="2400" dirty="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dirty="0">
                <a:solidFill>
                  <a:srgbClr val="FFFFFF"/>
                </a:solidFill>
                <a:latin typeface="+mn-lt"/>
              </a:rPr>
              <a:t>Azure Native Design and Platform Roadmap Alignment</a:t>
            </a:r>
            <a:endParaRPr lang="en-US" sz="1800" kern="0" dirty="0">
              <a:solidFill>
                <a:srgbClr val="FFFFFF"/>
              </a:solidFill>
              <a:latin typeface="+mn-lt"/>
            </a:endParaRPr>
          </a:p>
        </p:txBody>
      </p:sp>
    </p:spTree>
    <p:extLst>
      <p:ext uri="{BB962C8B-B14F-4D97-AF65-F5344CB8AC3E}">
        <p14:creationId xmlns:p14="http://schemas.microsoft.com/office/powerpoint/2010/main" val="3518130478"/>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41204"/>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Contoso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4131854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TIMING" val="|16.6"/>
</p:tagLst>
</file>

<file path=ppt/tags/tag19.xml><?xml version="1.0" encoding="utf-8"?>
<p:tagLst xmlns:a="http://schemas.openxmlformats.org/drawingml/2006/main" xmlns:r="http://schemas.openxmlformats.org/officeDocument/2006/relationships" xmlns:p="http://schemas.openxmlformats.org/presentationml/2006/main">
  <p:tag name="TIMING" val="|2.5"/>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7.xml><?xml version="1.0" encoding="utf-8"?>
<a:theme xmlns:a="http://schemas.openxmlformats.org/drawingml/2006/main" name="1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1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icrosoft_Inspire_Digital_Event_WAF.potx  -  Recovered" id="{6ACA0D1D-AF9E-4787-8DB0-DEB3C7C0FF4E}" vid="{E41D71D2-B76B-4040-8D2A-B4B671249196}"/>
    </a:ext>
  </a:extLst>
</a:theme>
</file>

<file path=ppt/theme/theme1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Props1.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2.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01 - Azure Landing Zones Design Principles-Considerations-Recommendations</Template>
  <TotalTime>183</TotalTime>
  <Words>3552</Words>
  <Application>Microsoft Office PowerPoint</Application>
  <PresentationFormat>Widescreen</PresentationFormat>
  <Paragraphs>475</Paragraphs>
  <Slides>35</Slides>
  <Notes>34</Notes>
  <HiddenSlides>0</HiddenSlides>
  <MMClips>0</MMClips>
  <ScaleCrop>false</ScaleCrop>
  <HeadingPairs>
    <vt:vector size="8" baseType="variant">
      <vt:variant>
        <vt:lpstr>Fonts Used</vt:lpstr>
      </vt:variant>
      <vt:variant>
        <vt:i4>11</vt:i4>
      </vt:variant>
      <vt:variant>
        <vt:lpstr>Theme</vt:lpstr>
      </vt:variant>
      <vt:variant>
        <vt:i4>19</vt:i4>
      </vt:variant>
      <vt:variant>
        <vt:lpstr>Embedded OLE Servers</vt:lpstr>
      </vt:variant>
      <vt:variant>
        <vt:i4>1</vt:i4>
      </vt:variant>
      <vt:variant>
        <vt:lpstr>Slide Titles</vt:lpstr>
      </vt:variant>
      <vt:variant>
        <vt:i4>35</vt:i4>
      </vt:variant>
    </vt:vector>
  </HeadingPairs>
  <TitlesOfParts>
    <vt:vector size="66" baseType="lpstr">
      <vt:lpstr>Arial</vt:lpstr>
      <vt:lpstr>Calibri</vt:lpstr>
      <vt:lpstr>Calibri Light</vt:lpstr>
      <vt:lpstr>Consolas</vt:lpstr>
      <vt:lpstr>Segoe </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1_Black Template</vt:lpstr>
      <vt:lpstr>1_6-51096_Microsoft_Inspire_Black_Template</vt:lpstr>
      <vt:lpstr>3_Office Theme</vt:lpstr>
      <vt:lpstr>1_Office Theme</vt:lpstr>
      <vt:lpstr>think-cell Slide</vt:lpstr>
      <vt:lpstr>Azure Landing Zones Architecting for Success</vt:lpstr>
      <vt:lpstr>Microsoft Cloud Adoption Framework for Azure</vt:lpstr>
      <vt:lpstr>Azure Landing Zone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Contoso reference implementation</vt:lpstr>
      <vt:lpstr>Azure landing zone conceptual architecture Trey Research Reference Implementation</vt:lpstr>
      <vt:lpstr>Azure landing zone conceptual architecture Bicep Reference Implementation</vt:lpstr>
      <vt:lpstr>PowerPoint Presentation</vt:lpstr>
      <vt:lpstr>Common implementation approach</vt:lpstr>
      <vt:lpstr>Azure landing zones – Implementation Options</vt:lpstr>
      <vt:lpstr>Demo: ALZ Accelerator Deployment</vt:lpstr>
      <vt:lpstr>Design Areas</vt:lpstr>
      <vt:lpstr>Azure landing zones Design areas</vt:lpstr>
      <vt:lpstr>Proper tenant creation, enrollment, and billing setup are important early steps.</vt:lpstr>
      <vt:lpstr>Identity &amp; Access Management</vt:lpstr>
      <vt:lpstr>Network Topology &amp; Connectivity </vt:lpstr>
      <vt:lpstr>Resource Organization </vt:lpstr>
      <vt:lpstr>Security </vt:lpstr>
      <vt:lpstr>Management </vt:lpstr>
      <vt:lpstr>Governance </vt:lpstr>
      <vt:lpstr>Platform Automation &amp; DevOps </vt:lpstr>
      <vt:lpstr>Demo: Documenting &amp; Assessing ALZ</vt:lpstr>
      <vt:lpstr>Well-Architected</vt:lpstr>
      <vt:lpstr>Building well-architected workloads is a  shared responsibility</vt:lpstr>
      <vt:lpstr>Microsoft Azure Well-Architected Framework</vt:lpstr>
      <vt:lpstr>Best practices to drive workload quality</vt:lpstr>
      <vt:lpstr>Where do Landing Zones fit in?</vt:lpstr>
      <vt:lpstr>And the Well Architected Framework?</vt:lpstr>
      <vt:lpstr>Resources &amp; Next Steps</vt:lpstr>
      <vt:lpstr>Azure Landing Zones Resourc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The CAF Azure Landing Zones</dc:title>
  <dc:creator>Jonathan Vella</dc:creator>
  <cp:lastModifiedBy>Jonathan Vella</cp:lastModifiedBy>
  <cp:revision>1</cp:revision>
  <dcterms:created xsi:type="dcterms:W3CDTF">2022-11-01T12:15:34Z</dcterms:created>
  <dcterms:modified xsi:type="dcterms:W3CDTF">2022-11-03T12:2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